
<file path=[Content_Types].xml><?xml version="1.0" encoding="utf-8"?>
<Types xmlns="http://schemas.openxmlformats.org/package/2006/content-types">
  <Default ContentType="application/vnd.openxmlformats-officedocument.oleObject" Extension="bin"/>
  <Default ContentType="image/png" Extension="png"/>
  <Default ContentType="image/x-emf" Extension="emf"/>
  <Default ContentType="image/jpeg" Extension="jpeg"/>
  <Default ContentType="application/vnd.openxmlformats-package.relationships+xml" Extension="rels"/>
  <Default ContentType="application/xml" Extension="xml"/>
  <Default ContentType="application/vnd.openxmlformats-officedocument.vmlDrawing" Extension="vml"/>
  <Default ContentType="image/gif" Extension="gif"/>
  <Override ContentType="application/vnd.openxmlformats-officedocument.presentationml.presentation.main+xml" PartName="/ppt/presentation.xml"/>
  <Override ContentType="application/vnd.openxmlformats-officedocument.presentationml.slideMaster+xml" PartName="/ppt/slideMasters/slideMaster1.xml"/>
  <Override ContentType="application/vnd.openxmlformats-officedocument.presentationml.slideMaster+xml" PartName="/ppt/slideMasters/slideMaster2.xml"/>
  <Override ContentType="application/vnd.openxmlformats-officedocument.presentationml.slideMaster+xml" PartName="/ppt/slideMasters/slideMaster3.xml"/>
  <Override ContentType="application/vnd.openxmlformats-officedocument.presentationml.slideMaster+xml" PartName="/ppt/slideMasters/slideMaster4.xml"/>
  <Override ContentType="application/vnd.openxmlformats-officedocument.presentationml.slideMaster+xml" PartName="/ppt/slideMasters/slideMaster5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notesMaster+xml" PartName="/ppt/notesMasters/notesMaster1.xml"/>
  <Override ContentType="application/vnd.openxmlformats-officedocument.presentationml.handoutMaster+xml" PartName="/ppt/handoutMasters/handoutMaster1.xml"/>
  <Override ContentType="application/vnd.openxmlformats-officedocument.presentationml.tags+xml" PartName="/ppt/tags/tag1.xml"/>
  <Override ContentType="application/vnd.openxmlformats-officedocument.presentationml.presProps+xml" PartName="/ppt/presProps.xml"/>
  <Override ContentType="application/vnd.openxmlformats-officedocument.presentationml.viewProps+xml" PartName="/ppt/viewProps.xml"/>
  <Override ContentType="application/vnd.openxmlformats-officedocument.theme+xml" PartName="/ppt/theme/theme1.xml"/>
  <Override ContentType="application/vnd.openxmlformats-officedocument.presentationml.tableStyles+xml" PartName="/ppt/tableStyle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presentationml.tags+xml" PartName="/ppt/tags/tag23.xml"/>
  <Override ContentType="application/vnd.openxmlformats-officedocument.presentationml.tags+xml" PartName="/ppt/tags/tag24.xml"/>
  <Override ContentType="application/vnd.openxmlformats-officedocument.presentationml.tags+xml" PartName="/ppt/tags/tag25.xml"/>
  <Override ContentType="application/vnd.openxmlformats-officedocument.presentationml.tags+xml" PartName="/ppt/tags/tag26.xml"/>
  <Override ContentType="application/vnd.openxmlformats-officedocument.presentationml.tags+xml" PartName="/ppt/tags/tag27.xml"/>
  <Override ContentType="application/vnd.openxmlformats-officedocument.presentationml.tags+xml" PartName="/ppt/tags/tag28.xml"/>
  <Override ContentType="application/vnd.openxmlformats-officedocument.presentationml.tags+xml" PartName="/ppt/tags/tag29.xml"/>
  <Override ContentType="application/vnd.openxmlformats-officedocument.presentationml.slideLayout+xml" PartName="/ppt/slideLayouts/slideLayout15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23.xml"/>
  <Override ContentType="application/vnd.openxmlformats-officedocument.presentationml.slideLayout+xml" PartName="/ppt/slideLayouts/slideLayout24.xml"/>
  <Override ContentType="application/vnd.openxmlformats-officedocument.presentationml.slideLayout+xml" PartName="/ppt/slideLayouts/slideLayout25.xml"/>
  <Override ContentType="application/vnd.openxmlformats-officedocument.presentationml.slideLayout+xml" PartName="/ppt/slideLayouts/slideLayout26.xml"/>
  <Override ContentType="application/vnd.openxmlformats-officedocument.presentationml.slideLayout+xml" PartName="/ppt/slideLayouts/slideLayout27.xml"/>
  <Override ContentType="application/vnd.openxmlformats-officedocument.presentationml.slideLayout+xml" PartName="/ppt/slideLayouts/slideLayout28.xml"/>
  <Override ContentType="application/vnd.openxmlformats-officedocument.theme+xml" PartName="/ppt/theme/theme2.xml"/>
  <Override ContentType="application/vnd.openxmlformats-officedocument.presentationml.tags+xml" PartName="/ppt/tags/tag30.xml"/>
  <Override ContentType="application/vnd.openxmlformats-officedocument.presentationml.tags+xml" PartName="/ppt/tags/tag31.xml"/>
  <Override ContentType="application/vnd.openxmlformats-officedocument.presentationml.tags+xml" PartName="/ppt/tags/tag32.xml"/>
  <Override ContentType="application/vnd.openxmlformats-officedocument.presentationml.tags+xml" PartName="/ppt/tags/tag33.xml"/>
  <Override ContentType="application/vnd.openxmlformats-officedocument.presentationml.tags+xml" PartName="/ppt/tags/tag34.xml"/>
  <Override ContentType="application/vnd.openxmlformats-officedocument.presentationml.tags+xml" PartName="/ppt/tags/tag35.xml"/>
  <Override ContentType="application/vnd.openxmlformats-officedocument.presentationml.tags+xml" PartName="/ppt/tags/tag36.xml"/>
  <Override ContentType="application/vnd.openxmlformats-officedocument.presentationml.tags+xml" PartName="/ppt/tags/tag37.xml"/>
  <Override ContentType="application/vnd.openxmlformats-officedocument.presentationml.tags+xml" PartName="/ppt/tags/tag38.xml"/>
  <Override ContentType="application/vnd.openxmlformats-officedocument.presentationml.tags+xml" PartName="/ppt/tags/tag39.xml"/>
  <Override ContentType="application/vnd.openxmlformats-officedocument.presentationml.tags+xml" PartName="/ppt/tags/tag40.xml"/>
  <Override ContentType="application/vnd.openxmlformats-officedocument.presentationml.tags+xml" PartName="/ppt/tags/tag41.xml"/>
  <Override ContentType="application/vnd.openxmlformats-officedocument.presentationml.tags+xml" PartName="/ppt/tags/tag42.xml"/>
  <Override ContentType="application/vnd.openxmlformats-officedocument.presentationml.tags+xml" PartName="/ppt/tags/tag43.xml"/>
  <Override ContentType="application/vnd.openxmlformats-officedocument.presentationml.tags+xml" PartName="/ppt/tags/tag44.xml"/>
  <Override ContentType="application/vnd.openxmlformats-officedocument.presentationml.tags+xml" PartName="/ppt/tags/tag45.xml"/>
  <Override ContentType="application/vnd.openxmlformats-officedocument.presentationml.tags+xml" PartName="/ppt/tags/tag46.xml"/>
  <Override ContentType="application/vnd.openxmlformats-officedocument.presentationml.tags+xml" PartName="/ppt/tags/tag47.xml"/>
  <Override ContentType="application/vnd.openxmlformats-officedocument.presentationml.tags+xml" PartName="/ppt/tags/tag48.xml"/>
  <Override ContentType="application/vnd.openxmlformats-officedocument.presentationml.tags+xml" PartName="/ppt/tags/tag49.xml"/>
  <Override ContentType="application/vnd.openxmlformats-officedocument.presentationml.tags+xml" PartName="/ppt/tags/tag50.xml"/>
  <Override ContentType="application/vnd.openxmlformats-officedocument.presentationml.tags+xml" PartName="/ppt/tags/tag51.xml"/>
  <Override ContentType="application/vnd.openxmlformats-officedocument.presentationml.tags+xml" PartName="/ppt/tags/tag52.xml"/>
  <Override ContentType="application/vnd.openxmlformats-officedocument.presentationml.tags+xml" PartName="/ppt/tags/tag53.xml"/>
  <Override ContentType="application/vnd.openxmlformats-officedocument.presentationml.tags+xml" PartName="/ppt/tags/tag54.xml"/>
  <Override ContentType="application/vnd.openxmlformats-officedocument.presentationml.tags+xml" PartName="/ppt/tags/tag55.xml"/>
  <Override ContentType="application/vnd.openxmlformats-officedocument.presentationml.tags+xml" PartName="/ppt/tags/tag56.xml"/>
  <Override ContentType="application/vnd.openxmlformats-officedocument.presentationml.tags+xml" PartName="/ppt/tags/tag57.xml"/>
  <Override ContentType="application/vnd.openxmlformats-officedocument.presentationml.slideLayout+xml" PartName="/ppt/slideLayouts/slideLayout29.xml"/>
  <Override ContentType="application/vnd.openxmlformats-officedocument.presentationml.slideLayout+xml" PartName="/ppt/slideLayouts/slideLayout30.xml"/>
  <Override ContentType="application/vnd.openxmlformats-officedocument.presentationml.slideLayout+xml" PartName="/ppt/slideLayouts/slideLayout31.xml"/>
  <Override ContentType="application/vnd.openxmlformats-officedocument.presentationml.slideLayout+xml" PartName="/ppt/slideLayouts/slideLayout32.xml"/>
  <Override ContentType="application/vnd.openxmlformats-officedocument.presentationml.slideLayout+xml" PartName="/ppt/slideLayouts/slideLayout33.xml"/>
  <Override ContentType="application/vnd.openxmlformats-officedocument.presentationml.slideLayout+xml" PartName="/ppt/slideLayouts/slideLayout34.xml"/>
  <Override ContentType="application/vnd.openxmlformats-officedocument.presentationml.slideLayout+xml" PartName="/ppt/slideLayouts/slideLayout35.xml"/>
  <Override ContentType="application/vnd.openxmlformats-officedocument.presentationml.slideLayout+xml" PartName="/ppt/slideLayouts/slideLayout36.xml"/>
  <Override ContentType="application/vnd.openxmlformats-officedocument.presentationml.slideLayout+xml" PartName="/ppt/slideLayouts/slideLayout37.xml"/>
  <Override ContentType="application/vnd.openxmlformats-officedocument.presentationml.slideLayout+xml" PartName="/ppt/slideLayouts/slideLayout38.xml"/>
  <Override ContentType="application/vnd.openxmlformats-officedocument.presentationml.slideLayout+xml" PartName="/ppt/slideLayouts/slideLayout39.xml"/>
  <Override ContentType="application/vnd.openxmlformats-officedocument.presentationml.slideLayout+xml" PartName="/ppt/slideLayouts/slideLayout40.xml"/>
  <Override ContentType="application/vnd.openxmlformats-officedocument.presentationml.slideLayout+xml" PartName="/ppt/slideLayouts/slideLayout41.xml"/>
  <Override ContentType="application/vnd.openxmlformats-officedocument.presentationml.slideLayout+xml" PartName="/ppt/slideLayouts/slideLayout42.xml"/>
  <Override ContentType="application/vnd.openxmlformats-officedocument.theme+xml" PartName="/ppt/theme/theme3.xml"/>
  <Override ContentType="application/vnd.openxmlformats-officedocument.presentationml.tags+xml" PartName="/ppt/tags/tag58.xml"/>
  <Override ContentType="application/vnd.openxmlformats-officedocument.presentationml.tags+xml" PartName="/ppt/tags/tag59.xml"/>
  <Override ContentType="application/vnd.openxmlformats-officedocument.presentationml.tags+xml" PartName="/ppt/tags/tag60.xml"/>
  <Override ContentType="application/vnd.openxmlformats-officedocument.presentationml.tags+xml" PartName="/ppt/tags/tag61.xml"/>
  <Override ContentType="application/vnd.openxmlformats-officedocument.presentationml.tags+xml" PartName="/ppt/tags/tag62.xml"/>
  <Override ContentType="application/vnd.openxmlformats-officedocument.presentationml.tags+xml" PartName="/ppt/tags/tag63.xml"/>
  <Override ContentType="application/vnd.openxmlformats-officedocument.presentationml.tags+xml" PartName="/ppt/tags/tag64.xml"/>
  <Override ContentType="application/vnd.openxmlformats-officedocument.presentationml.tags+xml" PartName="/ppt/tags/tag65.xml"/>
  <Override ContentType="application/vnd.openxmlformats-officedocument.presentationml.tags+xml" PartName="/ppt/tags/tag66.xml"/>
  <Override ContentType="application/vnd.openxmlformats-officedocument.presentationml.tags+xml" PartName="/ppt/tags/tag67.xml"/>
  <Override ContentType="application/vnd.openxmlformats-officedocument.presentationml.tags+xml" PartName="/ppt/tags/tag68.xml"/>
  <Override ContentType="application/vnd.openxmlformats-officedocument.presentationml.tags+xml" PartName="/ppt/tags/tag69.xml"/>
  <Override ContentType="application/vnd.openxmlformats-officedocument.presentationml.tags+xml" PartName="/ppt/tags/tag70.xml"/>
  <Override ContentType="application/vnd.openxmlformats-officedocument.presentationml.tags+xml" PartName="/ppt/tags/tag71.xml"/>
  <Override ContentType="application/vnd.openxmlformats-officedocument.presentationml.tags+xml" PartName="/ppt/tags/tag72.xml"/>
  <Override ContentType="application/vnd.openxmlformats-officedocument.presentationml.tags+xml" PartName="/ppt/tags/tag73.xml"/>
  <Override ContentType="application/vnd.openxmlformats-officedocument.presentationml.tags+xml" PartName="/ppt/tags/tag74.xml"/>
  <Override ContentType="application/vnd.openxmlformats-officedocument.presentationml.tags+xml" PartName="/ppt/tags/tag75.xml"/>
  <Override ContentType="application/vnd.openxmlformats-officedocument.presentationml.tags+xml" PartName="/ppt/tags/tag76.xml"/>
  <Override ContentType="application/vnd.openxmlformats-officedocument.presentationml.tags+xml" PartName="/ppt/tags/tag77.xml"/>
  <Override ContentType="application/vnd.openxmlformats-officedocument.presentationml.tags+xml" PartName="/ppt/tags/tag78.xml"/>
  <Override ContentType="application/vnd.openxmlformats-officedocument.presentationml.tags+xml" PartName="/ppt/tags/tag79.xml"/>
  <Override ContentType="application/vnd.openxmlformats-officedocument.presentationml.tags+xml" PartName="/ppt/tags/tag80.xml"/>
  <Override ContentType="application/vnd.openxmlformats-officedocument.presentationml.tags+xml" PartName="/ppt/tags/tag81.xml"/>
  <Override ContentType="application/vnd.openxmlformats-officedocument.presentationml.tags+xml" PartName="/ppt/tags/tag82.xml"/>
  <Override ContentType="application/vnd.openxmlformats-officedocument.presentationml.tags+xml" PartName="/ppt/tags/tag83.xml"/>
  <Override ContentType="application/vnd.openxmlformats-officedocument.presentationml.tags+xml" PartName="/ppt/tags/tag84.xml"/>
  <Override ContentType="application/vnd.openxmlformats-officedocument.presentationml.tags+xml" PartName="/ppt/tags/tag85.xml"/>
  <Override ContentType="application/vnd.openxmlformats-officedocument.presentationml.slideLayout+xml" PartName="/ppt/slideLayouts/slideLayout43.xml"/>
  <Override ContentType="application/vnd.openxmlformats-officedocument.presentationml.slideLayout+xml" PartName="/ppt/slideLayouts/slideLayout44.xml"/>
  <Override ContentType="application/vnd.openxmlformats-officedocument.presentationml.slideLayout+xml" PartName="/ppt/slideLayouts/slideLayout45.xml"/>
  <Override ContentType="application/vnd.openxmlformats-officedocument.presentationml.slideLayout+xml" PartName="/ppt/slideLayouts/slideLayout46.xml"/>
  <Override ContentType="application/vnd.openxmlformats-officedocument.presentationml.slideLayout+xml" PartName="/ppt/slideLayouts/slideLayout47.xml"/>
  <Override ContentType="application/vnd.openxmlformats-officedocument.presentationml.slideLayout+xml" PartName="/ppt/slideLayouts/slideLayout48.xml"/>
  <Override ContentType="application/vnd.openxmlformats-officedocument.presentationml.slideLayout+xml" PartName="/ppt/slideLayouts/slideLayout49.xml"/>
  <Override ContentType="application/vnd.openxmlformats-officedocument.presentationml.slideLayout+xml" PartName="/ppt/slideLayouts/slideLayout50.xml"/>
  <Override ContentType="application/vnd.openxmlformats-officedocument.presentationml.slideLayout+xml" PartName="/ppt/slideLayouts/slideLayout51.xml"/>
  <Override ContentType="application/vnd.openxmlformats-officedocument.presentationml.slideLayout+xml" PartName="/ppt/slideLayouts/slideLayout52.xml"/>
  <Override ContentType="application/vnd.openxmlformats-officedocument.presentationml.slideLayout+xml" PartName="/ppt/slideLayouts/slideLayout53.xml"/>
  <Override ContentType="application/vnd.openxmlformats-officedocument.presentationml.slideLayout+xml" PartName="/ppt/slideLayouts/slideLayout54.xml"/>
  <Override ContentType="application/vnd.openxmlformats-officedocument.presentationml.slideLayout+xml" PartName="/ppt/slideLayouts/slideLayout55.xml"/>
  <Override ContentType="application/vnd.openxmlformats-officedocument.presentationml.slideLayout+xml" PartName="/ppt/slideLayouts/slideLayout56.xml"/>
  <Override ContentType="application/vnd.openxmlformats-officedocument.presentationml.slideLayout+xml" PartName="/ppt/slideLayouts/slideLayout57.xml"/>
  <Override ContentType="application/vnd.openxmlformats-officedocument.theme+xml" PartName="/ppt/theme/theme4.xml"/>
  <Override ContentType="application/vnd.openxmlformats-officedocument.presentationml.tags+xml" PartName="/ppt/tags/tag86.xml"/>
  <Override ContentType="application/vnd.openxmlformats-officedocument.presentationml.tags+xml" PartName="/ppt/tags/tag87.xml"/>
  <Override ContentType="application/vnd.openxmlformats-officedocument.presentationml.tags+xml" PartName="/ppt/tags/tag88.xml"/>
  <Override ContentType="application/vnd.openxmlformats-officedocument.presentationml.tags+xml" PartName="/ppt/tags/tag89.xml"/>
  <Override ContentType="application/vnd.openxmlformats-officedocument.presentationml.tags+xml" PartName="/ppt/tags/tag90.xml"/>
  <Override ContentType="application/vnd.openxmlformats-officedocument.presentationml.tags+xml" PartName="/ppt/tags/tag91.xml"/>
  <Override ContentType="application/vnd.openxmlformats-officedocument.presentationml.tags+xml" PartName="/ppt/tags/tag92.xml"/>
  <Override ContentType="application/vnd.openxmlformats-officedocument.presentationml.tags+xml" PartName="/ppt/tags/tag93.xml"/>
  <Override ContentType="application/vnd.openxmlformats-officedocument.presentationml.tags+xml" PartName="/ppt/tags/tag94.xml"/>
  <Override ContentType="application/vnd.openxmlformats-officedocument.presentationml.tags+xml" PartName="/ppt/tags/tag95.xml"/>
  <Override ContentType="application/vnd.openxmlformats-officedocument.presentationml.tags+xml" PartName="/ppt/tags/tag96.xml"/>
  <Override ContentType="application/vnd.openxmlformats-officedocument.presentationml.tags+xml" PartName="/ppt/tags/tag97.xml"/>
  <Override ContentType="application/vnd.openxmlformats-officedocument.presentationml.tags+xml" PartName="/ppt/tags/tag98.xml"/>
  <Override ContentType="application/vnd.openxmlformats-officedocument.presentationml.tags+xml" PartName="/ppt/tags/tag99.xml"/>
  <Override ContentType="application/vnd.openxmlformats-officedocument.presentationml.tags+xml" PartName="/ppt/tags/tag100.xml"/>
  <Override ContentType="application/vnd.openxmlformats-officedocument.presentationml.tags+xml" PartName="/ppt/tags/tag101.xml"/>
  <Override ContentType="application/vnd.openxmlformats-officedocument.presentationml.tags+xml" PartName="/ppt/tags/tag102.xml"/>
  <Override ContentType="application/vnd.openxmlformats-officedocument.presentationml.tags+xml" PartName="/ppt/tags/tag103.xml"/>
  <Override ContentType="application/vnd.openxmlformats-officedocument.presentationml.tags+xml" PartName="/ppt/tags/tag104.xml"/>
  <Override ContentType="application/vnd.openxmlformats-officedocument.presentationml.tags+xml" PartName="/ppt/tags/tag105.xml"/>
  <Override ContentType="application/vnd.openxmlformats-officedocument.presentationml.tags+xml" PartName="/ppt/tags/tag106.xml"/>
  <Override ContentType="application/vnd.openxmlformats-officedocument.presentationml.tags+xml" PartName="/ppt/tags/tag107.xml"/>
  <Override ContentType="application/vnd.openxmlformats-officedocument.presentationml.tags+xml" PartName="/ppt/tags/tag108.xml"/>
  <Override ContentType="application/vnd.openxmlformats-officedocument.presentationml.tags+xml" PartName="/ppt/tags/tag109.xml"/>
  <Override ContentType="application/vnd.openxmlformats-officedocument.presentationml.tags+xml" PartName="/ppt/tags/tag110.xml"/>
  <Override ContentType="application/vnd.openxmlformats-officedocument.presentationml.tags+xml" PartName="/ppt/tags/tag111.xml"/>
  <Override ContentType="application/vnd.openxmlformats-officedocument.presentationml.tags+xml" PartName="/ppt/tags/tag112.xml"/>
  <Override ContentType="application/vnd.openxmlformats-officedocument.presentationml.tags+xml" PartName="/ppt/tags/tag113.xml"/>
  <Override ContentType="application/vnd.openxmlformats-officedocument.presentationml.slideLayout+xml" PartName="/ppt/slideLayouts/slideLayout58.xml"/>
  <Override ContentType="application/vnd.openxmlformats-officedocument.presentationml.slideLayout+xml" PartName="/ppt/slideLayouts/slideLayout59.xml"/>
  <Override ContentType="application/vnd.openxmlformats-officedocument.presentationml.slideLayout+xml" PartName="/ppt/slideLayouts/slideLayout60.xml"/>
  <Override ContentType="application/vnd.openxmlformats-officedocument.presentationml.slideLayout+xml" PartName="/ppt/slideLayouts/slideLayout61.xml"/>
  <Override ContentType="application/vnd.openxmlformats-officedocument.presentationml.slideLayout+xml" PartName="/ppt/slideLayouts/slideLayout62.xml"/>
  <Override ContentType="application/vnd.openxmlformats-officedocument.presentationml.slideLayout+xml" PartName="/ppt/slideLayouts/slideLayout63.xml"/>
  <Override ContentType="application/vnd.openxmlformats-officedocument.presentationml.slideLayout+xml" PartName="/ppt/slideLayouts/slideLayout64.xml"/>
  <Override ContentType="application/vnd.openxmlformats-officedocument.presentationml.slideLayout+xml" PartName="/ppt/slideLayouts/slideLayout65.xml"/>
  <Override ContentType="application/vnd.openxmlformats-officedocument.presentationml.slideLayout+xml" PartName="/ppt/slideLayouts/slideLayout66.xml"/>
  <Override ContentType="application/vnd.openxmlformats-officedocument.presentationml.slideLayout+xml" PartName="/ppt/slideLayouts/slideLayout67.xml"/>
  <Override ContentType="application/vnd.openxmlformats-officedocument.presentationml.slideLayout+xml" PartName="/ppt/slideLayouts/slideLayout68.xml"/>
  <Override ContentType="application/vnd.openxmlformats-officedocument.presentationml.slideLayout+xml" PartName="/ppt/slideLayouts/slideLayout69.xml"/>
  <Override ContentType="application/vnd.openxmlformats-officedocument.presentationml.slideLayout+xml" PartName="/ppt/slideLayouts/slideLayout70.xml"/>
  <Override ContentType="application/vnd.openxmlformats-officedocument.presentationml.slideLayout+xml" PartName="/ppt/slideLayouts/slideLayout71.xml"/>
  <Override ContentType="application/vnd.openxmlformats-officedocument.theme+xml" PartName="/ppt/theme/theme5.xml"/>
  <Override ContentType="application/vnd.openxmlformats-officedocument.presentationml.tags+xml" PartName="/ppt/tags/tag114.xml"/>
  <Override ContentType="application/vnd.openxmlformats-officedocument.presentationml.tags+xml" PartName="/ppt/tags/tag115.xml"/>
  <Override ContentType="application/vnd.openxmlformats-officedocument.presentationml.tags+xml" PartName="/ppt/tags/tag116.xml"/>
  <Override ContentType="application/vnd.openxmlformats-officedocument.presentationml.tags+xml" PartName="/ppt/tags/tag117.xml"/>
  <Override ContentType="application/vnd.openxmlformats-officedocument.presentationml.tags+xml" PartName="/ppt/tags/tag118.xml"/>
  <Override ContentType="application/vnd.openxmlformats-officedocument.presentationml.tags+xml" PartName="/ppt/tags/tag119.xml"/>
  <Override ContentType="application/vnd.openxmlformats-officedocument.presentationml.tags+xml" PartName="/ppt/tags/tag120.xml"/>
  <Override ContentType="application/vnd.openxmlformats-officedocument.presentationml.tags+xml" PartName="/ppt/tags/tag121.xml"/>
  <Override ContentType="application/vnd.openxmlformats-officedocument.presentationml.tags+xml" PartName="/ppt/tags/tag122.xml"/>
  <Override ContentType="application/vnd.openxmlformats-officedocument.presentationml.tags+xml" PartName="/ppt/tags/tag123.xml"/>
  <Override ContentType="application/vnd.openxmlformats-officedocument.presentationml.tags+xml" PartName="/ppt/tags/tag124.xml"/>
  <Override ContentType="application/vnd.openxmlformats-officedocument.presentationml.tags+xml" PartName="/ppt/tags/tag125.xml"/>
  <Override ContentType="application/vnd.openxmlformats-officedocument.presentationml.tags+xml" PartName="/ppt/tags/tag126.xml"/>
  <Override ContentType="application/vnd.openxmlformats-officedocument.presentationml.tags+xml" PartName="/ppt/tags/tag127.xml"/>
  <Override ContentType="application/vnd.openxmlformats-officedocument.presentationml.tags+xml" PartName="/ppt/tags/tag128.xml"/>
  <Override ContentType="application/vnd.openxmlformats-officedocument.presentationml.tags+xml" PartName="/ppt/tags/tag129.xml"/>
  <Override ContentType="application/vnd.openxmlformats-officedocument.presentationml.tags+xml" PartName="/ppt/tags/tag130.xml"/>
  <Override ContentType="application/vnd.openxmlformats-officedocument.presentationml.tags+xml" PartName="/ppt/tags/tag131.xml"/>
  <Override ContentType="application/vnd.openxmlformats-officedocument.presentationml.tags+xml" PartName="/ppt/tags/tag132.xml"/>
  <Override ContentType="application/vnd.openxmlformats-officedocument.presentationml.tags+xml" PartName="/ppt/tags/tag133.xml"/>
  <Override ContentType="application/vnd.openxmlformats-officedocument.presentationml.tags+xml" PartName="/ppt/tags/tag134.xml"/>
  <Override ContentType="application/vnd.openxmlformats-officedocument.presentationml.tags+xml" PartName="/ppt/tags/tag135.xml"/>
  <Override ContentType="application/vnd.openxmlformats-officedocument.presentationml.tags+xml" PartName="/ppt/tags/tag136.xml"/>
  <Override ContentType="application/vnd.openxmlformats-officedocument.presentationml.tags+xml" PartName="/ppt/tags/tag137.xml"/>
  <Override ContentType="application/vnd.openxmlformats-officedocument.presentationml.tags+xml" PartName="/ppt/tags/tag138.xml"/>
  <Override ContentType="application/vnd.openxmlformats-officedocument.presentationml.tags+xml" PartName="/ppt/tags/tag139.xml"/>
  <Override ContentType="application/vnd.openxmlformats-officedocument.presentationml.tags+xml" PartName="/ppt/tags/tag140.xml"/>
  <Override ContentType="application/vnd.openxmlformats-officedocument.presentationml.tags+xml" PartName="/ppt/tags/tag141.xml"/>
  <Override ContentType="application/vnd.openxmlformats-officedocument.theme+xml" PartName="/ppt/theme/theme6.xml"/>
  <Override ContentType="application/vnd.openxmlformats-officedocument.theme+xml" PartName="/ppt/theme/theme7.xml"/>
  <Override ContentType="application/vnd.openxmlformats-package.core-properties+xml" PartName="/docProps/core.xml"/>
  <Override ContentType="application/vnd.openxmlformats-officedocument.extended-properties+xml" PartName="/docProps/app.xml"/>
  <Override ContentType="application/vnd.openxmlformats-officedocument.custom-properties+xml" PartName="/docProps/custom.xml"/>
</Types>
</file>

<file path=_rels/.rels><?xml version="1.0" encoding="UTF-8" standalone="yes" ?><Relationships xmlns="http://schemas.openxmlformats.org/package/2006/relationships"><Relationship Id="rId3" Target="docProps/core.xml" Type="http://schemas.openxmlformats.org/package/2006/relationships/metadata/core-properties"/><Relationship Id="rId2" Target="docProps/thumbnail.jpeg" Type="http://schemas.openxmlformats.org/package/2006/relationships/metadata/thumbnail"/><Relationship Id="rId1" Target="ppt/presentation.xml" Type="http://schemas.openxmlformats.org/officeDocument/2006/relationships/officeDocument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  <p:sldMasterId id="2147483768" r:id="rId2"/>
    <p:sldMasterId id="2147483783" r:id="rId3"/>
    <p:sldMasterId id="2147483798" r:id="rId4"/>
    <p:sldMasterId id="2147483813" r:id="rId5"/>
  </p:sldMasterIdLst>
  <p:notesMasterIdLst>
    <p:notesMasterId r:id="rId16"/>
  </p:notesMasterIdLst>
  <p:handoutMasterIdLst>
    <p:handoutMasterId r:id="rId17"/>
  </p:handoutMasterIdLst>
  <p:sldIdLst>
    <p:sldId id="860" r:id="rId6"/>
    <p:sldId id="840" r:id="rId7"/>
    <p:sldId id="859" r:id="rId8"/>
    <p:sldId id="848" r:id="rId9"/>
    <p:sldId id="849" r:id="rId10"/>
    <p:sldId id="850" r:id="rId11"/>
    <p:sldId id="851" r:id="rId12"/>
    <p:sldId id="852" r:id="rId13"/>
    <p:sldId id="853" r:id="rId14"/>
    <p:sldId id="855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622">
          <p15:clr>
            <a:srgbClr val="A4A3A4"/>
          </p15:clr>
        </p15:guide>
        <p15:guide id="2" orient="horz" pos="1025">
          <p15:clr>
            <a:srgbClr val="A4A3A4"/>
          </p15:clr>
        </p15:guide>
        <p15:guide id="3" orient="horz" pos="2985">
          <p15:clr>
            <a:srgbClr val="A4A3A4"/>
          </p15:clr>
        </p15:guide>
        <p15:guide id="4" orient="horz" pos="1679">
          <p15:clr>
            <a:srgbClr val="A4A3A4"/>
          </p15:clr>
        </p15:guide>
        <p15:guide id="5" orient="horz" pos="2341">
          <p15:clr>
            <a:srgbClr val="A4A3A4"/>
          </p15:clr>
        </p15:guide>
        <p15:guide id="6" pos="4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E22"/>
    <a:srgbClr val="FCECE7"/>
    <a:srgbClr val="A9FB93"/>
    <a:srgbClr val="797600"/>
    <a:srgbClr val="FBFBFB"/>
    <a:srgbClr val="BFBD00"/>
    <a:srgbClr val="004A12"/>
    <a:srgbClr val="00D633"/>
    <a:srgbClr val="93FFAD"/>
    <a:srgbClr val="00B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62" autoAdjust="0"/>
    <p:restoredTop sz="94651" autoAdjust="0"/>
  </p:normalViewPr>
  <p:slideViewPr>
    <p:cSldViewPr snapToGrid="0" showGuides="1">
      <p:cViewPr varScale="1">
        <p:scale>
          <a:sx n="92" d="100"/>
          <a:sy n="92" d="100"/>
        </p:scale>
        <p:origin x="-708" y="-102"/>
      </p:cViewPr>
      <p:guideLst>
        <p:guide orient="horz" pos="3622"/>
        <p:guide orient="horz" pos="1025"/>
        <p:guide orient="horz" pos="2985"/>
        <p:guide orient="horz" pos="1679"/>
        <p:guide orient="horz" pos="2341"/>
        <p:guide pos="4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02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02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5.xml" Type="http://schemas.openxmlformats.org/officeDocument/2006/relationships/tags"/><Relationship Id="rId7" Target="../media/image3.jpeg" Type="http://schemas.openxmlformats.org/officeDocument/2006/relationships/image"/><Relationship Id="rId2" Target="../tags/tag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0.xml.rels><?xml version="1.0" encoding="UTF-8" standalone="yes" ?><Relationships xmlns="http://schemas.openxmlformats.org/package/2006/relationships"><Relationship Id="rId3" Target="../tags/tag21.xml" Type="http://schemas.openxmlformats.org/officeDocument/2006/relationships/tags"/><Relationship Id="rId2" Target="../tags/tag2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1.xml.rels><?xml version="1.0" encoding="UTF-8" standalone="yes" ?><Relationships xmlns="http://schemas.openxmlformats.org/package/2006/relationships"><Relationship Id="rId3" Target="../tags/tag23.xml" Type="http://schemas.openxmlformats.org/officeDocument/2006/relationships/tags"/><Relationship Id="rId2" Target="../tags/tag2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2.xml.rels><?xml version="1.0" encoding="UTF-8" standalone="yes" ?><Relationships xmlns="http://schemas.openxmlformats.org/package/2006/relationships"><Relationship Id="rId3" Target="../tags/tag25.xml" Type="http://schemas.openxmlformats.org/officeDocument/2006/relationships/tags"/><Relationship Id="rId2" Target="../tags/tag2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3.xml.rels><?xml version="1.0" encoding="UTF-8" standalone="yes" ?><Relationships xmlns="http://schemas.openxmlformats.org/package/2006/relationships"><Relationship Id="rId3" Target="../tags/tag27.xml" Type="http://schemas.openxmlformats.org/officeDocument/2006/relationships/tags"/><Relationship Id="rId2" Target="../tags/tag2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4.xml.rels><?xml version="1.0" encoding="UTF-8" standalone="yes" ?><Relationships xmlns="http://schemas.openxmlformats.org/package/2006/relationships"><Relationship Id="rId3" Target="../tags/tag29.xml" Type="http://schemas.openxmlformats.org/officeDocument/2006/relationships/tags"/><Relationship Id="rId2" Target="../tags/tag2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5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33.xml" Type="http://schemas.openxmlformats.org/officeDocument/2006/relationships/tags"/><Relationship Id="rId7" Target="../media/image3.jpeg" Type="http://schemas.openxmlformats.org/officeDocument/2006/relationships/image"/><Relationship Id="rId2" Target="../tags/tag3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16.xml.rels><?xml version="1.0" encoding="UTF-8" standalone="yes" ?><Relationships xmlns="http://schemas.openxmlformats.org/package/2006/relationships"><Relationship Id="rId3" Target="../slideMasters/slideMaster2.xml" Type="http://schemas.openxmlformats.org/officeDocument/2006/relationships/slideMaster"/><Relationship Id="rId7" Target="../media/image4.png" Type="http://schemas.openxmlformats.org/officeDocument/2006/relationships/image"/><Relationship Id="rId2" Target="../tags/tag34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17.xml.rels><?xml version="1.0" encoding="UTF-8" standalone="yes" ?><Relationships xmlns="http://schemas.openxmlformats.org/package/2006/relationships"><Relationship Id="rId3" Target="../slideMasters/slideMaster2.xml" Type="http://schemas.openxmlformats.org/officeDocument/2006/relationships/slideMaster"/><Relationship Id="rId7" Target="../media/image4.png" Type="http://schemas.openxmlformats.org/officeDocument/2006/relationships/image"/><Relationship Id="rId2" Target="../tags/tag35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18.xml.rels><?xml version="1.0" encoding="UTF-8" standalone="yes" ?><Relationships xmlns="http://schemas.openxmlformats.org/package/2006/relationships"><Relationship Id="rId3" Target="../tags/tag37.xml" Type="http://schemas.openxmlformats.org/officeDocument/2006/relationships/tags"/><Relationship Id="rId2" Target="../tags/tag3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19.xml.rels><?xml version="1.0" encoding="UTF-8" standalone="yes" ?><Relationships xmlns="http://schemas.openxmlformats.org/package/2006/relationships"><Relationship Id="rId3" Target="../tags/tag39.xml" Type="http://schemas.openxmlformats.org/officeDocument/2006/relationships/tags"/><Relationship Id="rId2" Target="../tags/tag3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.xml.rels><?xml version="1.0" encoding="UTF-8" standalone="yes" ?><Relationships xmlns="http://schemas.openxmlformats.org/package/2006/relationships"><Relationship Id="rId3" Target="../slideMasters/slideMaster1.xml" Type="http://schemas.openxmlformats.org/officeDocument/2006/relationships/slideMaster"/><Relationship Id="rId7" Target="../media/image4.png" Type="http://schemas.openxmlformats.org/officeDocument/2006/relationships/image"/><Relationship Id="rId2" Target="../tags/tag6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20.xml.rels><?xml version="1.0" encoding="UTF-8" standalone="yes" ?><Relationships xmlns="http://schemas.openxmlformats.org/package/2006/relationships"><Relationship Id="rId3" Target="../tags/tag41.xml" Type="http://schemas.openxmlformats.org/officeDocument/2006/relationships/tags"/><Relationship Id="rId2" Target="../tags/tag4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1.xml.rels><?xml version="1.0" encoding="UTF-8" standalone="yes" ?><Relationships xmlns="http://schemas.openxmlformats.org/package/2006/relationships"><Relationship Id="rId3" Target="../tags/tag43.xml" Type="http://schemas.openxmlformats.org/officeDocument/2006/relationships/tags"/><Relationship Id="rId2" Target="../tags/tag4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2.xml.rels><?xml version="1.0" encoding="UTF-8" standalone="yes" ?><Relationships xmlns="http://schemas.openxmlformats.org/package/2006/relationships"><Relationship Id="rId3" Target="../tags/tag45.xml" Type="http://schemas.openxmlformats.org/officeDocument/2006/relationships/tags"/><Relationship Id="rId2" Target="../tags/tag4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3.xml.rels><?xml version="1.0" encoding="UTF-8" standalone="yes" ?><Relationships xmlns="http://schemas.openxmlformats.org/package/2006/relationships"><Relationship Id="rId3" Target="../tags/tag47.xml" Type="http://schemas.openxmlformats.org/officeDocument/2006/relationships/tags"/><Relationship Id="rId2" Target="../tags/tag4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4.xml.rels><?xml version="1.0" encoding="UTF-8" standalone="yes" ?><Relationships xmlns="http://schemas.openxmlformats.org/package/2006/relationships"><Relationship Id="rId3" Target="../tags/tag49.xml" Type="http://schemas.openxmlformats.org/officeDocument/2006/relationships/tags"/><Relationship Id="rId2" Target="../tags/tag4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5.xml.rels><?xml version="1.0" encoding="UTF-8" standalone="yes" ?><Relationships xmlns="http://schemas.openxmlformats.org/package/2006/relationships"><Relationship Id="rId3" Target="../tags/tag51.xml" Type="http://schemas.openxmlformats.org/officeDocument/2006/relationships/tags"/><Relationship Id="rId2" Target="../tags/tag5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6.xml.rels><?xml version="1.0" encoding="UTF-8" standalone="yes" ?><Relationships xmlns="http://schemas.openxmlformats.org/package/2006/relationships"><Relationship Id="rId3" Target="../tags/tag53.xml" Type="http://schemas.openxmlformats.org/officeDocument/2006/relationships/tags"/><Relationship Id="rId2" Target="../tags/tag5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7.xml.rels><?xml version="1.0" encoding="UTF-8" standalone="yes" ?><Relationships xmlns="http://schemas.openxmlformats.org/package/2006/relationships"><Relationship Id="rId3" Target="../tags/tag55.xml" Type="http://schemas.openxmlformats.org/officeDocument/2006/relationships/tags"/><Relationship Id="rId2" Target="../tags/tag5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8.xml.rels><?xml version="1.0" encoding="UTF-8" standalone="yes" ?><Relationships xmlns="http://schemas.openxmlformats.org/package/2006/relationships"><Relationship Id="rId3" Target="../tags/tag57.xml" Type="http://schemas.openxmlformats.org/officeDocument/2006/relationships/tags"/><Relationship Id="rId2" Target="../tags/tag5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9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61.xml" Type="http://schemas.openxmlformats.org/officeDocument/2006/relationships/tags"/><Relationship Id="rId7" Target="../media/image3.jpeg" Type="http://schemas.openxmlformats.org/officeDocument/2006/relationships/image"/><Relationship Id="rId2" Target="../tags/tag6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.xml.rels><?xml version="1.0" encoding="UTF-8" standalone="yes" ?><Relationships xmlns="http://schemas.openxmlformats.org/package/2006/relationships"><Relationship Id="rId3" Target="../slideMasters/slideMaster1.xml" Type="http://schemas.openxmlformats.org/officeDocument/2006/relationships/slideMaster"/><Relationship Id="rId7" Target="../media/image4.png" Type="http://schemas.openxmlformats.org/officeDocument/2006/relationships/image"/><Relationship Id="rId2" Target="../tags/tag7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0.xml.rels><?xml version="1.0" encoding="UTF-8" standalone="yes" ?><Relationships xmlns="http://schemas.openxmlformats.org/package/2006/relationships"><Relationship Id="rId3" Target="../slideMasters/slideMaster3.xml" Type="http://schemas.openxmlformats.org/officeDocument/2006/relationships/slideMaster"/><Relationship Id="rId7" Target="../media/image4.png" Type="http://schemas.openxmlformats.org/officeDocument/2006/relationships/image"/><Relationship Id="rId2" Target="../tags/tag62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1.xml.rels><?xml version="1.0" encoding="UTF-8" standalone="yes" ?><Relationships xmlns="http://schemas.openxmlformats.org/package/2006/relationships"><Relationship Id="rId3" Target="../slideMasters/slideMaster3.xml" Type="http://schemas.openxmlformats.org/officeDocument/2006/relationships/slideMaster"/><Relationship Id="rId7" Target="../media/image4.png" Type="http://schemas.openxmlformats.org/officeDocument/2006/relationships/image"/><Relationship Id="rId2" Target="../tags/tag63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2.xml.rels><?xml version="1.0" encoding="UTF-8" standalone="yes" ?><Relationships xmlns="http://schemas.openxmlformats.org/package/2006/relationships"><Relationship Id="rId3" Target="../tags/tag65.xml" Type="http://schemas.openxmlformats.org/officeDocument/2006/relationships/tags"/><Relationship Id="rId2" Target="../tags/tag6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3.xml.rels><?xml version="1.0" encoding="UTF-8" standalone="yes" ?><Relationships xmlns="http://schemas.openxmlformats.org/package/2006/relationships"><Relationship Id="rId3" Target="../tags/tag67.xml" Type="http://schemas.openxmlformats.org/officeDocument/2006/relationships/tags"/><Relationship Id="rId2" Target="../tags/tag6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4.xml.rels><?xml version="1.0" encoding="UTF-8" standalone="yes" ?><Relationships xmlns="http://schemas.openxmlformats.org/package/2006/relationships"><Relationship Id="rId3" Target="../tags/tag69.xml" Type="http://schemas.openxmlformats.org/officeDocument/2006/relationships/tags"/><Relationship Id="rId2" Target="../tags/tag6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5.xml.rels><?xml version="1.0" encoding="UTF-8" standalone="yes" ?><Relationships xmlns="http://schemas.openxmlformats.org/package/2006/relationships"><Relationship Id="rId3" Target="../tags/tag71.xml" Type="http://schemas.openxmlformats.org/officeDocument/2006/relationships/tags"/><Relationship Id="rId2" Target="../tags/tag7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6.xml.rels><?xml version="1.0" encoding="UTF-8" standalone="yes" ?><Relationships xmlns="http://schemas.openxmlformats.org/package/2006/relationships"><Relationship Id="rId3" Target="../tags/tag73.xml" Type="http://schemas.openxmlformats.org/officeDocument/2006/relationships/tags"/><Relationship Id="rId2" Target="../tags/tag7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7.xml.rels><?xml version="1.0" encoding="UTF-8" standalone="yes" ?><Relationships xmlns="http://schemas.openxmlformats.org/package/2006/relationships"><Relationship Id="rId3" Target="../tags/tag75.xml" Type="http://schemas.openxmlformats.org/officeDocument/2006/relationships/tags"/><Relationship Id="rId2" Target="../tags/tag7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8.xml.rels><?xml version="1.0" encoding="UTF-8" standalone="yes" ?><Relationships xmlns="http://schemas.openxmlformats.org/package/2006/relationships"><Relationship Id="rId3" Target="../tags/tag77.xml" Type="http://schemas.openxmlformats.org/officeDocument/2006/relationships/tags"/><Relationship Id="rId2" Target="../tags/tag7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9.xml.rels><?xml version="1.0" encoding="UTF-8" standalone="yes" ?><Relationships xmlns="http://schemas.openxmlformats.org/package/2006/relationships"><Relationship Id="rId3" Target="../tags/tag79.xml" Type="http://schemas.openxmlformats.org/officeDocument/2006/relationships/tags"/><Relationship Id="rId2" Target="../tags/tag7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.xml.rels><?xml version="1.0" encoding="UTF-8" standalone="yes" ?><Relationships xmlns="http://schemas.openxmlformats.org/package/2006/relationships"><Relationship Id="rId3" Target="../tags/tag9.xml" Type="http://schemas.openxmlformats.org/officeDocument/2006/relationships/tags"/><Relationship Id="rId2" Target="../tags/tag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40.xml.rels><?xml version="1.0" encoding="UTF-8" standalone="yes" ?><Relationships xmlns="http://schemas.openxmlformats.org/package/2006/relationships"><Relationship Id="rId3" Target="../tags/tag81.xml" Type="http://schemas.openxmlformats.org/officeDocument/2006/relationships/tags"/><Relationship Id="rId2" Target="../tags/tag8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1.xml.rels><?xml version="1.0" encoding="UTF-8" standalone="yes" ?><Relationships xmlns="http://schemas.openxmlformats.org/package/2006/relationships"><Relationship Id="rId3" Target="../tags/tag83.xml" Type="http://schemas.openxmlformats.org/officeDocument/2006/relationships/tags"/><Relationship Id="rId2" Target="../tags/tag8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2.xml.rels><?xml version="1.0" encoding="UTF-8" standalone="yes" ?><Relationships xmlns="http://schemas.openxmlformats.org/package/2006/relationships"><Relationship Id="rId3" Target="../tags/tag85.xml" Type="http://schemas.openxmlformats.org/officeDocument/2006/relationships/tags"/><Relationship Id="rId2" Target="../tags/tag8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3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89.xml" Type="http://schemas.openxmlformats.org/officeDocument/2006/relationships/tags"/><Relationship Id="rId7" Target="../media/image3.jpeg" Type="http://schemas.openxmlformats.org/officeDocument/2006/relationships/image"/><Relationship Id="rId2" Target="../tags/tag8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4.xml.rels><?xml version="1.0" encoding="UTF-8" standalone="yes" ?><Relationships xmlns="http://schemas.openxmlformats.org/package/2006/relationships"><Relationship Id="rId3" Target="../slideMasters/slideMaster4.xml" Type="http://schemas.openxmlformats.org/officeDocument/2006/relationships/slideMaster"/><Relationship Id="rId7" Target="../media/image4.png" Type="http://schemas.openxmlformats.org/officeDocument/2006/relationships/image"/><Relationship Id="rId2" Target="../tags/tag90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45.xml.rels><?xml version="1.0" encoding="UTF-8" standalone="yes" ?><Relationships xmlns="http://schemas.openxmlformats.org/package/2006/relationships"><Relationship Id="rId3" Target="../slideMasters/slideMaster4.xml" Type="http://schemas.openxmlformats.org/officeDocument/2006/relationships/slideMaster"/><Relationship Id="rId7" Target="../media/image4.png" Type="http://schemas.openxmlformats.org/officeDocument/2006/relationships/image"/><Relationship Id="rId2" Target="../tags/tag91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46.xml.rels><?xml version="1.0" encoding="UTF-8" standalone="yes" ?><Relationships xmlns="http://schemas.openxmlformats.org/package/2006/relationships"><Relationship Id="rId3" Target="../tags/tag93.xml" Type="http://schemas.openxmlformats.org/officeDocument/2006/relationships/tags"/><Relationship Id="rId2" Target="../tags/tag9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7.xml.rels><?xml version="1.0" encoding="UTF-8" standalone="yes" ?><Relationships xmlns="http://schemas.openxmlformats.org/package/2006/relationships"><Relationship Id="rId3" Target="../tags/tag95.xml" Type="http://schemas.openxmlformats.org/officeDocument/2006/relationships/tags"/><Relationship Id="rId2" Target="../tags/tag9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8.xml.rels><?xml version="1.0" encoding="UTF-8" standalone="yes" ?><Relationships xmlns="http://schemas.openxmlformats.org/package/2006/relationships"><Relationship Id="rId3" Target="../tags/tag97.xml" Type="http://schemas.openxmlformats.org/officeDocument/2006/relationships/tags"/><Relationship Id="rId2" Target="../tags/tag9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9.xml.rels><?xml version="1.0" encoding="UTF-8" standalone="yes" ?><Relationships xmlns="http://schemas.openxmlformats.org/package/2006/relationships"><Relationship Id="rId3" Target="../tags/tag99.xml" Type="http://schemas.openxmlformats.org/officeDocument/2006/relationships/tags"/><Relationship Id="rId2" Target="../tags/tag9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.xml.rels><?xml version="1.0" encoding="UTF-8" standalone="yes" ?><Relationships xmlns="http://schemas.openxmlformats.org/package/2006/relationships"><Relationship Id="rId3" Target="../tags/tag11.xml" Type="http://schemas.openxmlformats.org/officeDocument/2006/relationships/tags"/><Relationship Id="rId2" Target="../tags/tag1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50.xml.rels><?xml version="1.0" encoding="UTF-8" standalone="yes" ?><Relationships xmlns="http://schemas.openxmlformats.org/package/2006/relationships"><Relationship Id="rId3" Target="../tags/tag101.xml" Type="http://schemas.openxmlformats.org/officeDocument/2006/relationships/tags"/><Relationship Id="rId2" Target="../tags/tag10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1.xml.rels><?xml version="1.0" encoding="UTF-8" standalone="yes" ?><Relationships xmlns="http://schemas.openxmlformats.org/package/2006/relationships"><Relationship Id="rId3" Target="../tags/tag103.xml" Type="http://schemas.openxmlformats.org/officeDocument/2006/relationships/tags"/><Relationship Id="rId2" Target="../tags/tag10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2.xml.rels><?xml version="1.0" encoding="UTF-8" standalone="yes" ?><Relationships xmlns="http://schemas.openxmlformats.org/package/2006/relationships"><Relationship Id="rId3" Target="../tags/tag105.xml" Type="http://schemas.openxmlformats.org/officeDocument/2006/relationships/tags"/><Relationship Id="rId2" Target="../tags/tag10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3.xml.rels><?xml version="1.0" encoding="UTF-8" standalone="yes" ?><Relationships xmlns="http://schemas.openxmlformats.org/package/2006/relationships"><Relationship Id="rId3" Target="../tags/tag107.xml" Type="http://schemas.openxmlformats.org/officeDocument/2006/relationships/tags"/><Relationship Id="rId2" Target="../tags/tag10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4.xml.rels><?xml version="1.0" encoding="UTF-8" standalone="yes" ?><Relationships xmlns="http://schemas.openxmlformats.org/package/2006/relationships"><Relationship Id="rId3" Target="../tags/tag109.xml" Type="http://schemas.openxmlformats.org/officeDocument/2006/relationships/tags"/><Relationship Id="rId2" Target="../tags/tag10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5.xml.rels><?xml version="1.0" encoding="UTF-8" standalone="yes" ?><Relationships xmlns="http://schemas.openxmlformats.org/package/2006/relationships"><Relationship Id="rId3" Target="../tags/tag111.xml" Type="http://schemas.openxmlformats.org/officeDocument/2006/relationships/tags"/><Relationship Id="rId2" Target="../tags/tag11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6.xml.rels><?xml version="1.0" encoding="UTF-8" standalone="yes" ?><Relationships xmlns="http://schemas.openxmlformats.org/package/2006/relationships"><Relationship Id="rId3" Target="../tags/tag113.xml" Type="http://schemas.openxmlformats.org/officeDocument/2006/relationships/tags"/><Relationship Id="rId2" Target="../tags/tag11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117.xml" Type="http://schemas.openxmlformats.org/officeDocument/2006/relationships/tags"/><Relationship Id="rId7" Target="../media/image3.jpeg" Type="http://schemas.openxmlformats.org/officeDocument/2006/relationships/image"/><Relationship Id="rId2" Target="../tags/tag11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59.xml.rels><?xml version="1.0" encoding="UTF-8" standalone="yes" ?><Relationships xmlns="http://schemas.openxmlformats.org/package/2006/relationships"><Relationship Id="rId3" Target="../slideMasters/slideMaster5.xml" Type="http://schemas.openxmlformats.org/officeDocument/2006/relationships/slideMaster"/><Relationship Id="rId7" Target="../media/image4.png" Type="http://schemas.openxmlformats.org/officeDocument/2006/relationships/image"/><Relationship Id="rId2" Target="../tags/tag118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6.xml.rels><?xml version="1.0" encoding="UTF-8" standalone="yes" ?><Relationships xmlns="http://schemas.openxmlformats.org/package/2006/relationships"><Relationship Id="rId3" Target="../tags/tag13.xml" Type="http://schemas.openxmlformats.org/officeDocument/2006/relationships/tags"/><Relationship Id="rId2" Target="../tags/tag1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60.xml.rels><?xml version="1.0" encoding="UTF-8" standalone="yes" ?><Relationships xmlns="http://schemas.openxmlformats.org/package/2006/relationships"><Relationship Id="rId3" Target="../slideMasters/slideMaster5.xml" Type="http://schemas.openxmlformats.org/officeDocument/2006/relationships/slideMaster"/><Relationship Id="rId7" Target="../media/image4.png" Type="http://schemas.openxmlformats.org/officeDocument/2006/relationships/image"/><Relationship Id="rId2" Target="../tags/tag119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61.xml.rels><?xml version="1.0" encoding="UTF-8" standalone="yes" ?><Relationships xmlns="http://schemas.openxmlformats.org/package/2006/relationships"><Relationship Id="rId3" Target="../tags/tag121.xml" Type="http://schemas.openxmlformats.org/officeDocument/2006/relationships/tags"/><Relationship Id="rId2" Target="../tags/tag12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2.xml.rels><?xml version="1.0" encoding="UTF-8" standalone="yes" ?><Relationships xmlns="http://schemas.openxmlformats.org/package/2006/relationships"><Relationship Id="rId3" Target="../tags/tag123.xml" Type="http://schemas.openxmlformats.org/officeDocument/2006/relationships/tags"/><Relationship Id="rId2" Target="../tags/tag12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3.xml.rels><?xml version="1.0" encoding="UTF-8" standalone="yes" ?><Relationships xmlns="http://schemas.openxmlformats.org/package/2006/relationships"><Relationship Id="rId3" Target="../tags/tag125.xml" Type="http://schemas.openxmlformats.org/officeDocument/2006/relationships/tags"/><Relationship Id="rId2" Target="../tags/tag12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4.xml.rels><?xml version="1.0" encoding="UTF-8" standalone="yes" ?><Relationships xmlns="http://schemas.openxmlformats.org/package/2006/relationships"><Relationship Id="rId3" Target="../tags/tag127.xml" Type="http://schemas.openxmlformats.org/officeDocument/2006/relationships/tags"/><Relationship Id="rId2" Target="../tags/tag12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5.xml.rels><?xml version="1.0" encoding="UTF-8" standalone="yes" ?><Relationships xmlns="http://schemas.openxmlformats.org/package/2006/relationships"><Relationship Id="rId3" Target="../tags/tag129.xml" Type="http://schemas.openxmlformats.org/officeDocument/2006/relationships/tags"/><Relationship Id="rId2" Target="../tags/tag12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6.xml.rels><?xml version="1.0" encoding="UTF-8" standalone="yes" ?><Relationships xmlns="http://schemas.openxmlformats.org/package/2006/relationships"><Relationship Id="rId3" Target="../tags/tag131.xml" Type="http://schemas.openxmlformats.org/officeDocument/2006/relationships/tags"/><Relationship Id="rId2" Target="../tags/tag13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7.xml.rels><?xml version="1.0" encoding="UTF-8" standalone="yes" ?><Relationships xmlns="http://schemas.openxmlformats.org/package/2006/relationships"><Relationship Id="rId3" Target="../tags/tag133.xml" Type="http://schemas.openxmlformats.org/officeDocument/2006/relationships/tags"/><Relationship Id="rId2" Target="../tags/tag13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8.xml.rels><?xml version="1.0" encoding="UTF-8" standalone="yes" ?><Relationships xmlns="http://schemas.openxmlformats.org/package/2006/relationships"><Relationship Id="rId3" Target="../tags/tag135.xml" Type="http://schemas.openxmlformats.org/officeDocument/2006/relationships/tags"/><Relationship Id="rId2" Target="../tags/tag13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9.xml.rels><?xml version="1.0" encoding="UTF-8" standalone="yes" ?><Relationships xmlns="http://schemas.openxmlformats.org/package/2006/relationships"><Relationship Id="rId3" Target="../tags/tag137.xml" Type="http://schemas.openxmlformats.org/officeDocument/2006/relationships/tags"/><Relationship Id="rId2" Target="../tags/tag13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7.xml.rels><?xml version="1.0" encoding="UTF-8" standalone="yes" ?><Relationships xmlns="http://schemas.openxmlformats.org/package/2006/relationships"><Relationship Id="rId3" Target="../tags/tag15.xml" Type="http://schemas.openxmlformats.org/officeDocument/2006/relationships/tags"/><Relationship Id="rId2" Target="../tags/tag1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70.xml.rels><?xml version="1.0" encoding="UTF-8" standalone="yes" ?><Relationships xmlns="http://schemas.openxmlformats.org/package/2006/relationships"><Relationship Id="rId3" Target="../tags/tag139.xml" Type="http://schemas.openxmlformats.org/officeDocument/2006/relationships/tags"/><Relationship Id="rId2" Target="../tags/tag13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71.xml.rels><?xml version="1.0" encoding="UTF-8" standalone="yes" ?><Relationships xmlns="http://schemas.openxmlformats.org/package/2006/relationships"><Relationship Id="rId3" Target="../tags/tag141.xml" Type="http://schemas.openxmlformats.org/officeDocument/2006/relationships/tags"/><Relationship Id="rId2" Target="../tags/tag14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8.xml.rels><?xml version="1.0" encoding="UTF-8" standalone="yes" ?><Relationships xmlns="http://schemas.openxmlformats.org/package/2006/relationships"><Relationship Id="rId3" Target="../tags/tag17.xml" Type="http://schemas.openxmlformats.org/officeDocument/2006/relationships/tags"/><Relationship Id="rId2" Target="../tags/tag1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9.xml.rels><?xml version="1.0" encoding="UTF-8" standalone="yes" ?><Relationships xmlns="http://schemas.openxmlformats.org/package/2006/relationships"><Relationship Id="rId3" Target="../tags/tag19.xml" Type="http://schemas.openxmlformats.org/officeDocument/2006/relationships/tags"/><Relationship Id="rId2" Target="../tags/tag1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slideLayout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 eaLnBrk="1" indent="0" lvl="0" marL="0"/>
            <a:endParaRPr b="0" baseline="0" dirty="0" i="0" lang="en-US" sz="1800">
              <a:solidFill>
                <a:schemeClr val="tx1"/>
              </a:solidFill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2420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7830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780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5410897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614335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3158110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5174722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7768289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422460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6305024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203212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327317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8940516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2870710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6172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6208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7650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4468483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32002385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33456763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1223853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8279665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2854828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93439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595099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336422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9698431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84978246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1113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3198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358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8276111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873447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14534081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750360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244467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68482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80156636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191129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360553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453213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81234007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6CA3F0-3C44-476E-94BB-ACB15BB674DC}" type="datetimeFigureOut">
              <a:rPr lang="ru-RU"/>
              <a:pPr>
                <a:defRPr/>
              </a:pPr>
              <a:t>02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8A4AAF-BF80-499C-B392-4C9781EE226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10120246"/>
      </p:ext>
    </p:extLst>
  </p:cSld>
  <p:clrMapOvr>
    <a:masterClrMapping/>
  </p:clrMapOvr>
</p:sldLayout>
</file>

<file path=ppt/slideLayouts/slideLayout5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98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1743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9268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2057004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467310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864395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495291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4101650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123823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9007978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90696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917462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5359741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5385221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 ?><Relationships xmlns="http://schemas.openxmlformats.org/package/2006/relationships"><Relationship Id="rId8" Target="../slideLayouts/slideLayout8.xml" Type="http://schemas.openxmlformats.org/officeDocument/2006/relationships/slideLayout"/><Relationship Id="rId13" Target="../slideLayouts/slideLayout13.xml" Type="http://schemas.openxmlformats.org/officeDocument/2006/relationships/slideLayout"/><Relationship Id="rId18" Target="../tags/tag3.xml" Type="http://schemas.openxmlformats.org/officeDocument/2006/relationships/tags"/><Relationship Id="rId3" Target="../slideLayouts/slideLayout3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7.xml" Type="http://schemas.openxmlformats.org/officeDocument/2006/relationships/slideLayout"/><Relationship Id="rId12" Target="../slideLayouts/slideLayout12.xml" Type="http://schemas.openxmlformats.org/officeDocument/2006/relationships/slideLayout"/><Relationship Id="rId17" Target="../tags/tag2.xml" Type="http://schemas.openxmlformats.org/officeDocument/2006/relationships/tags"/><Relationship Id="rId2" Target="../slideLayouts/slideLayout2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1.xml" Type="http://schemas.openxmlformats.org/officeDocument/2006/relationships/slideLayout"/><Relationship Id="rId6" Target="../slideLayouts/slideLayout6.xml" Type="http://schemas.openxmlformats.org/officeDocument/2006/relationships/slideLayout"/><Relationship Id="rId11" Target="../slideLayouts/slideLayout11.xml" Type="http://schemas.openxmlformats.org/officeDocument/2006/relationships/slideLayout"/><Relationship Id="rId5" Target="../slideLayouts/slideLayout5.xml" Type="http://schemas.openxmlformats.org/officeDocument/2006/relationships/slideLayout"/><Relationship Id="rId15" Target="../theme/theme1.xml" Type="http://schemas.openxmlformats.org/officeDocument/2006/relationships/theme"/><Relationship Id="rId10" Target="../slideLayouts/slideLayout10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4.xml" Type="http://schemas.openxmlformats.org/officeDocument/2006/relationships/slideLayout"/><Relationship Id="rId9" Target="../slideLayouts/slideLayout9.xml" Type="http://schemas.openxmlformats.org/officeDocument/2006/relationships/slideLayout"/><Relationship Id="rId14" Target="../slideLayouts/slideLayout14.xml" Type="http://schemas.openxmlformats.org/officeDocument/2006/relationships/slideLayout"/></Relationships>
</file>

<file path=ppt/slideMasters/_rels/slideMaster2.xml.rels><?xml version="1.0" encoding="UTF-8" standalone="yes" ?><Relationships xmlns="http://schemas.openxmlformats.org/package/2006/relationships"><Relationship Id="rId8" Target="../slideLayouts/slideLayout22.xml" Type="http://schemas.openxmlformats.org/officeDocument/2006/relationships/slideLayout"/><Relationship Id="rId13" Target="../slideLayouts/slideLayout27.xml" Type="http://schemas.openxmlformats.org/officeDocument/2006/relationships/slideLayout"/><Relationship Id="rId18" Target="../tags/tag31.xml" Type="http://schemas.openxmlformats.org/officeDocument/2006/relationships/tags"/><Relationship Id="rId3" Target="../slideLayouts/slideLayout17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21.xml" Type="http://schemas.openxmlformats.org/officeDocument/2006/relationships/slideLayout"/><Relationship Id="rId12" Target="../slideLayouts/slideLayout26.xml" Type="http://schemas.openxmlformats.org/officeDocument/2006/relationships/slideLayout"/><Relationship Id="rId17" Target="../tags/tag30.xml" Type="http://schemas.openxmlformats.org/officeDocument/2006/relationships/tags"/><Relationship Id="rId2" Target="../slideLayouts/slideLayout16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15.xml" Type="http://schemas.openxmlformats.org/officeDocument/2006/relationships/slideLayout"/><Relationship Id="rId6" Target="../slideLayouts/slideLayout20.xml" Type="http://schemas.openxmlformats.org/officeDocument/2006/relationships/slideLayout"/><Relationship Id="rId11" Target="../slideLayouts/slideLayout25.xml" Type="http://schemas.openxmlformats.org/officeDocument/2006/relationships/slideLayout"/><Relationship Id="rId5" Target="../slideLayouts/slideLayout19.xml" Type="http://schemas.openxmlformats.org/officeDocument/2006/relationships/slideLayout"/><Relationship Id="rId15" Target="../theme/theme2.xml" Type="http://schemas.openxmlformats.org/officeDocument/2006/relationships/theme"/><Relationship Id="rId10" Target="../slideLayouts/slideLayout24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18.xml" Type="http://schemas.openxmlformats.org/officeDocument/2006/relationships/slideLayout"/><Relationship Id="rId9" Target="../slideLayouts/slideLayout23.xml" Type="http://schemas.openxmlformats.org/officeDocument/2006/relationships/slideLayout"/><Relationship Id="rId14" Target="../slideLayouts/slideLayout28.xml" Type="http://schemas.openxmlformats.org/officeDocument/2006/relationships/slideLayout"/></Relationships>
</file>

<file path=ppt/slideMasters/_rels/slideMaster3.xml.rels><?xml version="1.0" encoding="UTF-8" standalone="yes" ?><Relationships xmlns="http://schemas.openxmlformats.org/package/2006/relationships"><Relationship Id="rId8" Target="../slideLayouts/slideLayout36.xml" Type="http://schemas.openxmlformats.org/officeDocument/2006/relationships/slideLayout"/><Relationship Id="rId13" Target="../slideLayouts/slideLayout41.xml" Type="http://schemas.openxmlformats.org/officeDocument/2006/relationships/slideLayout"/><Relationship Id="rId18" Target="../tags/tag59.xml" Type="http://schemas.openxmlformats.org/officeDocument/2006/relationships/tags"/><Relationship Id="rId3" Target="../slideLayouts/slideLayout31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35.xml" Type="http://schemas.openxmlformats.org/officeDocument/2006/relationships/slideLayout"/><Relationship Id="rId12" Target="../slideLayouts/slideLayout40.xml" Type="http://schemas.openxmlformats.org/officeDocument/2006/relationships/slideLayout"/><Relationship Id="rId17" Target="../tags/tag58.xml" Type="http://schemas.openxmlformats.org/officeDocument/2006/relationships/tags"/><Relationship Id="rId2" Target="../slideLayouts/slideLayout30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29.xml" Type="http://schemas.openxmlformats.org/officeDocument/2006/relationships/slideLayout"/><Relationship Id="rId6" Target="../slideLayouts/slideLayout34.xml" Type="http://schemas.openxmlformats.org/officeDocument/2006/relationships/slideLayout"/><Relationship Id="rId11" Target="../slideLayouts/slideLayout39.xml" Type="http://schemas.openxmlformats.org/officeDocument/2006/relationships/slideLayout"/><Relationship Id="rId5" Target="../slideLayouts/slideLayout33.xml" Type="http://schemas.openxmlformats.org/officeDocument/2006/relationships/slideLayout"/><Relationship Id="rId15" Target="../theme/theme3.xml" Type="http://schemas.openxmlformats.org/officeDocument/2006/relationships/theme"/><Relationship Id="rId10" Target="../slideLayouts/slideLayout38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32.xml" Type="http://schemas.openxmlformats.org/officeDocument/2006/relationships/slideLayout"/><Relationship Id="rId9" Target="../slideLayouts/slideLayout37.xml" Type="http://schemas.openxmlformats.org/officeDocument/2006/relationships/slideLayout"/><Relationship Id="rId14" Target="../slideLayouts/slideLayout42.xml" Type="http://schemas.openxmlformats.org/officeDocument/2006/relationships/slideLayout"/></Relationships>
</file>

<file path=ppt/slideMasters/_rels/slideMaster4.xml.rels><?xml version="1.0" encoding="UTF-8" standalone="yes" ?><Relationships xmlns="http://schemas.openxmlformats.org/package/2006/relationships"><Relationship Id="rId8" Target="../slideLayouts/slideLayout50.xml" Type="http://schemas.openxmlformats.org/officeDocument/2006/relationships/slideLayout"/><Relationship Id="rId13" Target="../slideLayouts/slideLayout55.xml" Type="http://schemas.openxmlformats.org/officeDocument/2006/relationships/slideLayout"/><Relationship Id="rId18" Target="../tags/tag86.xml" Type="http://schemas.openxmlformats.org/officeDocument/2006/relationships/tags"/><Relationship Id="rId3" Target="../slideLayouts/slideLayout45.xml" Type="http://schemas.openxmlformats.org/officeDocument/2006/relationships/slideLayout"/><Relationship Id="rId21" Target="../media/image1.emf" Type="http://schemas.openxmlformats.org/officeDocument/2006/relationships/image"/><Relationship Id="rId7" Target="../slideLayouts/slideLayout49.xml" Type="http://schemas.openxmlformats.org/officeDocument/2006/relationships/slideLayout"/><Relationship Id="rId12" Target="../slideLayouts/slideLayout54.xml" Type="http://schemas.openxmlformats.org/officeDocument/2006/relationships/slideLayout"/><Relationship Id="rId2" Target="../slideLayouts/slideLayout44.xml" Type="http://schemas.openxmlformats.org/officeDocument/2006/relationships/slideLayout"/><Relationship Id="rId16" Target="../theme/theme4.xml" Type="http://schemas.openxmlformats.org/officeDocument/2006/relationships/theme"/><Relationship Id="rId20" Target="../media/image1.emf" Type="http://schemas.openxmlformats.org/officeDocument/2006/relationships/image"/><Relationship Id="rId1" Target="../slideLayouts/slideLayout43.xml" Type="http://schemas.openxmlformats.org/officeDocument/2006/relationships/slideLayout"/><Relationship Id="rId6" Target="../slideLayouts/slideLayout48.xml" Type="http://schemas.openxmlformats.org/officeDocument/2006/relationships/slideLayout"/><Relationship Id="rId11" Target="../slideLayouts/slideLayout53.xml" Type="http://schemas.openxmlformats.org/officeDocument/2006/relationships/slideLayout"/><Relationship Id="rId5" Target="../slideLayouts/slideLayout47.xml" Type="http://schemas.openxmlformats.org/officeDocument/2006/relationships/slideLayout"/><Relationship Id="rId15" Target="../slideLayouts/slideLayout57.xml" Type="http://schemas.openxmlformats.org/officeDocument/2006/relationships/slideLayout"/><Relationship Id="rId10" Target="../slideLayouts/slideLayout52.xml" Type="http://schemas.openxmlformats.org/officeDocument/2006/relationships/slideLayout"/><Relationship Id="rId19" Target="../tags/tag87.xml" Type="http://schemas.openxmlformats.org/officeDocument/2006/relationships/tags"/><Relationship Id="rId4" Target="../slideLayouts/slideLayout46.xml" Type="http://schemas.openxmlformats.org/officeDocument/2006/relationships/slideLayout"/><Relationship Id="rId9" Target="../slideLayouts/slideLayout51.xml" Type="http://schemas.openxmlformats.org/officeDocument/2006/relationships/slideLayout"/><Relationship Id="rId14" Target="../slideLayouts/slideLayout56.xml" Type="http://schemas.openxmlformats.org/officeDocument/2006/relationships/slideLayout"/><Relationship Id="rId22" Target="../media/image2.png" Type="http://schemas.openxmlformats.org/officeDocument/2006/relationships/image"/></Relationships>
</file>

<file path=ppt/slideMasters/_rels/slideMaster5.xml.rels><?xml version="1.0" encoding="UTF-8" standalone="yes" ?><Relationships xmlns="http://schemas.openxmlformats.org/package/2006/relationships"><Relationship Id="rId8" Target="../slideLayouts/slideLayout65.xml" Type="http://schemas.openxmlformats.org/officeDocument/2006/relationships/slideLayout"/><Relationship Id="rId13" Target="../slideLayouts/slideLayout70.xml" Type="http://schemas.openxmlformats.org/officeDocument/2006/relationships/slideLayout"/><Relationship Id="rId18" Target="../tags/tag115.xml" Type="http://schemas.openxmlformats.org/officeDocument/2006/relationships/tags"/><Relationship Id="rId3" Target="../slideLayouts/slideLayout60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64.xml" Type="http://schemas.openxmlformats.org/officeDocument/2006/relationships/slideLayout"/><Relationship Id="rId12" Target="../slideLayouts/slideLayout69.xml" Type="http://schemas.openxmlformats.org/officeDocument/2006/relationships/slideLayout"/><Relationship Id="rId17" Target="../tags/tag114.xml" Type="http://schemas.openxmlformats.org/officeDocument/2006/relationships/tags"/><Relationship Id="rId2" Target="../slideLayouts/slideLayout59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58.xml" Type="http://schemas.openxmlformats.org/officeDocument/2006/relationships/slideLayout"/><Relationship Id="rId6" Target="../slideLayouts/slideLayout63.xml" Type="http://schemas.openxmlformats.org/officeDocument/2006/relationships/slideLayout"/><Relationship Id="rId11" Target="../slideLayouts/slideLayout68.xml" Type="http://schemas.openxmlformats.org/officeDocument/2006/relationships/slideLayout"/><Relationship Id="rId5" Target="../slideLayouts/slideLayout62.xml" Type="http://schemas.openxmlformats.org/officeDocument/2006/relationships/slideLayout"/><Relationship Id="rId15" Target="../theme/theme5.xml" Type="http://schemas.openxmlformats.org/officeDocument/2006/relationships/theme"/><Relationship Id="rId10" Target="../slideLayouts/slideLayout67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61.xml" Type="http://schemas.openxmlformats.org/officeDocument/2006/relationships/slideLayout"/><Relationship Id="rId9" Target="../slideLayouts/slideLayout66.xml" Type="http://schemas.openxmlformats.org/officeDocument/2006/relationships/slideLayout"/><Relationship Id="rId14" Target="../slideLayouts/slideLayout71.xml" Type="http://schemas.openxmlformats.org/officeDocument/2006/relationships/slideLayout"/></Relationships>
</file>

<file path=ppt/slideMasters/slideMaster1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mtClean="0" sz="1200">
                <a:solidFill>
                  <a:schemeClr val="tx1"/>
                </a:solidFill>
              </a:rPr>
              <a:pPr lvl="0"/>
              <a:t>‹#›</a:t>
            </a:fld>
            <a:endParaRPr dirty="0" lang="ru-RU" sz="120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0043546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67" r:id="rId1"/>
    <p:sldLayoutId id="2147483761" r:id="rId2"/>
    <p:sldLayoutId id="2147483766" r:id="rId3"/>
    <p:sldLayoutId id="2147483696" r:id="rId4"/>
    <p:sldLayoutId id="2147483703" r:id="rId5"/>
    <p:sldLayoutId id="2147483708" r:id="rId6"/>
    <p:sldLayoutId id="2147483701" r:id="rId7"/>
    <p:sldLayoutId id="2147483742" r:id="rId8"/>
    <p:sldLayoutId id="2147483704" r:id="rId9"/>
    <p:sldLayoutId id="2147483707" r:id="rId10"/>
    <p:sldLayoutId id="2147483706" r:id="rId11"/>
    <p:sldLayoutId id="2147483716" r:id="rId12"/>
    <p:sldLayoutId id="2147483709" r:id="rId13"/>
    <p:sldLayoutId id="2147483710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709985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932005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9872510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28" r:id="rId15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8550464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 ?><Relationships xmlns="http://schemas.openxmlformats.org/package/2006/relationships"><Relationship Id="rId3" Target="../media/image8.jpeg" Type="http://schemas.openxmlformats.org/officeDocument/2006/relationships/image"/><Relationship Id="rId2" Target="../media/image7.png" Type="http://schemas.openxmlformats.org/officeDocument/2006/relationships/image"/><Relationship Id="rId1" Target="../slideLayouts/slideLayout57.xml" Type="http://schemas.openxmlformats.org/officeDocument/2006/relationships/slideLayout"/><Relationship Id="rId6" Target="../media/image11.jpeg" Type="http://schemas.openxmlformats.org/officeDocument/2006/relationships/image"/><Relationship Id="rId5" Target="../media/image10.jpeg" Type="http://schemas.openxmlformats.org/officeDocument/2006/relationships/image"/><Relationship Id="rId4" Target="../media/image9.jpeg" Type="http://schemas.openxmlformats.org/officeDocument/2006/relationships/image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46.xml"/></Relationships>
</file>

<file path=ppt/slides/_rels/slide3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4.jpeg" Type="http://schemas.openxmlformats.org/officeDocument/2006/relationships/image"/><Relationship Id="rId1" Target="../slideLayouts/slideLayout46.xml" Type="http://schemas.openxmlformats.org/officeDocument/2006/relationships/slideLayout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6.xml"/></Relationships>
</file>

<file path=ppt/slides/_rels/slide8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9.jpeg" Type="http://schemas.openxmlformats.org/officeDocument/2006/relationships/image"/><Relationship Id="rId1" Target="../slideLayouts/slideLayout46.xml" Type="http://schemas.openxmlformats.org/officeDocument/2006/relationships/slideLayout"/></Relationships>
</file>

<file path=ppt/slides/_rels/slide9.xml.rels><?xml version="1.0" encoding="UTF-8" standalone="yes" ?><Relationships xmlns="http://schemas.openxmlformats.org/package/2006/relationships"><Relationship Id="rId3" Target="../media/image21.jpeg" Type="http://schemas.openxmlformats.org/officeDocument/2006/relationships/image"/><Relationship Id="rId2" Target="../media/image20.jpeg" Type="http://schemas.openxmlformats.org/officeDocument/2006/relationships/image"/><Relationship Id="rId1" Target="../slideLayouts/slideLayout46.xml" Type="http://schemas.openxmlformats.org/officeDocument/2006/relationships/slideLayout"/><Relationship Id="rId4" Target="../media/image13.jpeg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ctrTitle"/>
          </p:nvPr>
        </p:nvSpPr>
        <p:spPr>
          <a:xfrm>
            <a:off x="2258485" y="350839"/>
            <a:ext cx="7742767" cy="485775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Ә.Сағынов </a:t>
            </a:r>
            <a:r>
              <a:rPr lang="kk-KZ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тындағы Қарағанды техникалық университеті</a:t>
            </a: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агандинский технический университет имени А. </a:t>
            </a:r>
            <a:r>
              <a:rPr lang="ru-RU" altLang="ru-RU" sz="1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гинова</a:t>
            </a: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raganda Technical University named after A. </a:t>
            </a:r>
            <a:r>
              <a:rPr lang="en-US" altLang="ru-RU" sz="1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ginov</a:t>
            </a:r>
            <a:endParaRPr lang="ru-RU" altLang="ru-RU" sz="18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51" name="Подзаголовок 2"/>
          <p:cNvSpPr>
            <a:spLocks noGrp="1" noChangeArrowheads="1"/>
          </p:cNvSpPr>
          <p:nvPr>
            <p:ph type="subTitle" idx="1"/>
          </p:nvPr>
        </p:nvSpPr>
        <p:spPr>
          <a:xfrm>
            <a:off x="0" y="2133601"/>
            <a:ext cx="12192000" cy="2676525"/>
          </a:xfrm>
        </p:spPr>
        <p:txBody>
          <a:bodyPr/>
          <a:lstStyle/>
          <a:p>
            <a:pPr eaLnBrk="1" hangingPunct="1"/>
            <a:r>
              <a:rPr lang="kk-KZ" altLang="ru-RU" sz="28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сновы горного производства</a:t>
            </a:r>
            <a:endParaRPr lang="en-US" altLang="ru-RU" sz="28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/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(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PhD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) 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и.о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. доцента кафедры</a:t>
            </a:r>
          </a:p>
          <a:p>
            <a:pPr eaLnBrk="1" hangingPunct="1"/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«Разработка месторождений полезных ископаемых»</a:t>
            </a:r>
          </a:p>
          <a:p>
            <a:pPr eaLnBrk="1" hangingPunct="1"/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абатұлы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ұхаммедрахым</a:t>
            </a:r>
            <a:endParaRPr lang="ru-RU" altLang="ru-RU" sz="28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2" name="Рисунок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6" y="74037"/>
            <a:ext cx="1503602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Заголовок 1"/>
          <p:cNvSpPr txBox="1">
            <a:spLocks/>
          </p:cNvSpPr>
          <p:nvPr/>
        </p:nvSpPr>
        <p:spPr bwMode="auto">
          <a:xfrm>
            <a:off x="2222501" y="5827713"/>
            <a:ext cx="7744884" cy="48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750"/>
              </a:spcBef>
              <a:buFont typeface="Arial" charset="0"/>
              <a:buChar char="•"/>
              <a:defRPr sz="21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5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Республика Казахстан</a:t>
            </a:r>
            <a:endParaRPr lang="ru-RU" altLang="ru-RU" sz="18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ru-RU" sz="1800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город Караганда 2023</a:t>
            </a:r>
            <a:endParaRPr lang="ru-RU" altLang="ru-RU" sz="16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055" name="Рисунок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6" y="1964748"/>
            <a:ext cx="1511106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8582" y="873993"/>
            <a:ext cx="1307250" cy="127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6" name="Picture 2" descr="C:\Users\User\Downloads\phot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3136" y="2153805"/>
            <a:ext cx="1325563" cy="1325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827" name="Picture 3" descr="C:\Users\User\Downloads\photo (1)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6336" y="74037"/>
            <a:ext cx="1662255" cy="1662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8691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ные понятия о шахте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092890"/>
            <a:ext cx="5034987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стье ствола сооружается в подготовительный период (рис. 2.8). После устройства устья и технологического отхода высотой не более 50 м, предназначенного для размещения забойного горнопроходческо­го оборудования, приступают к монтажу проходческого оборудования и проходке протяженной части ствола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95EB9B44-42B0-44AA-5126-31D53FC67BB1}"/>
              </a:ext>
            </a:extLst>
          </p:cNvPr>
          <p:cNvSpPr txBox="1"/>
          <p:nvPr/>
        </p:nvSpPr>
        <p:spPr>
          <a:xfrm>
            <a:off x="6898509" y="4675604"/>
            <a:ext cx="4600937" cy="7920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2.8 – Схема проходки устья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- автокран; 2 - бадья; 3 - грейферный погрузчик; 4 - подвесная опалубка; 5 - лебедки для подвески опалубки; 6 - </a:t>
            </a:r>
            <a:r>
              <a:rPr lang="ru-RU" sz="1200" spc="5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етонопровод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7 - бункер для бетонной смеси; 8 - автосамосвал; 9 - рама-шаблон; 10 - кран-экскаватор</a:t>
            </a:r>
          </a:p>
          <a:p>
            <a:pPr algn="ctr">
              <a:lnSpc>
                <a:spcPts val="865"/>
              </a:lnSpc>
            </a:pPr>
            <a:endParaRPr lang="x-none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1C6BE039-A33B-81DA-6B91-A89B8972E9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0343" y="1262477"/>
            <a:ext cx="1938655" cy="312928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 smtClean="0">
                <a:solidFill>
                  <a:schemeClr val="tx1"/>
                </a:solidFill>
              </a:rPr>
              <a:t>10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8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0718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Основы горного дел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429735" y="5275956"/>
            <a:ext cx="4600937" cy="676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</a:t>
            </a:r>
            <a:r>
              <a:rPr lang="ru-RU" sz="1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1 </a:t>
            </a:r>
            <a:r>
              <a:rPr lang="en-US" sz="1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хема угольной шахты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, 2, 12— вертикальные выработки; 3, 4, 5, 10, 11—горизонтальные выработки;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6, 7, 8, 9 — наклонные выработки; 13 — насосная камера; 14 — очистной забой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840457"/>
            <a:ext cx="4812491" cy="4616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д вскрытием шахтного поля понимают проведение после разведки так называемых вскрывающих выработок, открывающих доступ от поверхности земли к месторождению и обеспечивающих возможность проведения подготовительных выработок. К вскрывающим выработкам относят стволы шахт, штольни, квершлаги, капитальные уклоны, бремсберги и др. По вскрывающим выработкам осуществляют спуск и подъем людей, материала и оборудования, выдают из шахты полезное ископаемое, пустую породу, подают в шахту свежий воздух для проветривания и удаляют загрязненный воздух.</a:t>
            </a:r>
          </a:p>
          <a:p>
            <a:pPr algn="just" defTabSz="914400"/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зличают главные и вспомогательные вскрывающие выработки. К главным относятся выработки (стволы, штольни), предназначенные для выдачи на поверхность полезного ископаемого, к вспомогательным — выработки (стволы слепых шахт, капитальные уклоны и др.), не имеющие непосредственного выхода на дневную поверхность и служащие для выполнения различных транспортных операций, вентиляции, а также для вскрытия новых участков месторождения (рис. 2.1)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xmlns="" id="{1689B95D-15A3-FE05-2DBE-01F5D4AEF7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" t="2069" r="1567" b="2857"/>
          <a:stretch/>
        </p:blipFill>
        <p:spPr bwMode="auto">
          <a:xfrm>
            <a:off x="5243332" y="1151681"/>
            <a:ext cx="6204029" cy="349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8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3436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ы горного дела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38457"/>
            <a:ext cx="6041985" cy="5693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ертикальные горные выработки. Шахтные стволы — выработки, имеющие непосредственный выход на земную поверхность и предназначенные для обслуживания подземных работ. 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езенк — выработка, не имеющая непосредственного выхода на земную поверхность и предназначенная для спуска угля с верхнего горизонта на нижний под действием собственного веса, для передвижения людей, канализации воздуха и пр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лепой ствол — выработка, не имеющая выхода на земную поверхность и предназначенная для обслуживания подземных работ (подъема полезного ископаемого, вентиляции, спуска и подъема людей). 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Шурф — выработка небольшого сечения и глубиной до 50— 60 м, имеющая непосредственный выход на земную Поверхность и предназначенная для разведки полезного ископаемого или для обслуживания подземных работ (спуска крепежного леса, вентиляции, подачи закладочного материала и др.). Шурф, в отличие от ствола, обычно не оборудован механическим подъемом, но имеет специальное отделение, которое оборудуют полками и лестницами и используют в качестве запасного выхода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оризонтальные горные выработки. Штольня — выработка, имеющая непосредственный выход на земную поверхность. Предназначена она, так же как и ствол, для обслуживания подземных работ. Штольни обычно проводят в сильно пересеченной или гористой местности </a:t>
            </a: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(рис. 2.2)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53A41392-487A-14D6-ED1C-26065311B8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0017" y="2164569"/>
            <a:ext cx="5788985" cy="347562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00EB1406-CE36-2BAA-6D42-953307004D76}"/>
              </a:ext>
            </a:extLst>
          </p:cNvPr>
          <p:cNvSpPr txBox="1"/>
          <p:nvPr/>
        </p:nvSpPr>
        <p:spPr>
          <a:xfrm>
            <a:off x="5098649" y="5919543"/>
            <a:ext cx="7135790" cy="5611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2.2 Горные выработки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, 2 — стволы; 3— слепой ствол; 4 — гезенк; 5 — шурф; 6 — наклонный ствол; 7.   7 — бремсберг;  8 — уклон;  9 — скат;   10 — ходок;  11 — орты;    12 — наклонный шурф;  13 — штольня;  14 — штреки;   15 — квершлаги;   16 — просеки;   17 — печи.</a:t>
            </a:r>
          </a:p>
        </p:txBody>
      </p:sp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2396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Основы горного дел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425158" y="4552538"/>
            <a:ext cx="4600937" cy="676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2.3 – Двухпутная горная выработка с поперечным сечением сводчатой формы:</a:t>
            </a:r>
          </a:p>
          <a:p>
            <a:pPr algn="ctr">
              <a:lnSpc>
                <a:spcPts val="865"/>
              </a:lnSpc>
            </a:pP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1— бетонная крепь; 2— водоотливная канавка; 3 — шпалы рельсового пути; 4 — балластовый слой; 5 — внешний контур выработок; 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905" y="1486400"/>
            <a:ext cx="7346475" cy="4401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При разведке месторождений полезных ископаемых, наряду с проведением горизонтальных, вертикальных и наклонных выработок, проходят выработки, называемые камерными или камерами. Большинство камер входит в комплекс выработок околоствольного двора. Околоствольный двор — совокупность выработок для соединения шахтного ствола со всеми остальными выработками шахты и для размещения ряда </a:t>
            </a: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общешахтных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производственных служб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Камеры различного назначения предназначены для обеспечения нормального функционирования всей системы подземных выработок. К основным в разведочных условиях относятся камеры: сопряжения околоствольного двора со стволом шахты, насосной станции, электроподстанции, электровозного депо, подземного расходного склада ВМ, слесарных мастерских, газоубежища, для размещения станков подземного бурения скважин. Чаще всего размеры камер в сечении не превосходят размеров одно- или двухпутных выработок. Но размеры отдельных из них (насосная, электроподстанция, буровая камера) могут в несколько раз превышать размеры сечений обычных выработок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Форма камерных выработок в плане может быть сложной, а поперечное сечение — изменяющимся. Например, форма и размеры камеры для бурения подземных скважин выбираются в зависимости от размеров бурового оборудования и направления бурения. Так, камеры для бурения наклонных и вертикальных скважин имеют более сложную форму, так как над основной камерой размещается ее шатровая часть (рис. 2.3)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0756DB96-A919-1F1B-03A6-B603FBAF28C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4" l="302" r="305"/>
          <a:stretch/>
        </p:blipFill>
        <p:spPr bwMode="auto">
          <a:xfrm>
            <a:off x="7892812" y="1486400"/>
            <a:ext cx="3752850" cy="26543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4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4024343"/>
      </p:ext>
    </p:extLst>
  </p:cSld>
  <p:clrMapOvr>
    <a:masterClrMapping/>
  </p:clrMapOvr>
  <p:timing>
    <p:tnLst>
      <p:par>
        <p:cTn dur="indefinite" id="1" nodeType="tmRoot" restart="never"/>
      </p:par>
    </p:tnLst>
  </p:timing>
</p:sld>
</file>

<file path=ppt/slides/slide5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Основы горного дел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759935" y="3901132"/>
            <a:ext cx="4600937" cy="3303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2.3 – Околоствольные дворы:</a:t>
            </a:r>
          </a:p>
          <a:p>
            <a:pPr algn="ctr">
              <a:lnSpc>
                <a:spcPts val="865"/>
              </a:lnSpc>
            </a:pP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1 и 2— шахтные стволы 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72" y="1073720"/>
            <a:ext cx="6408432" cy="4832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Выработки околоствольных дворов относятся к капитальным выработкам; срок их службы обычно равен сроку службы шахты и исчисляется десятилетиями. В связи с этим околоствольные выработки крепят бетоном, железобетоном и металлом; при объеме околоствольных выработок, составляющем до 15 % общего объема подземных выработок, продолжительность их сооружения превышает 60 % общего срока строительства шахты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Околоствольные дворы должны обеспечивать простоту маневров с гружеными и порожними составами, механизированную разгрузку вагонеток и их обмен, способствовать предотвращению встречных грузопотоков по одному и тому же пути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По своим техническим возможностям околоствольный двор должен обеспечивать выдачу на земную поверхность добытого полезного ископаемого в количестве, в 1,5 раза превышающем производственную мощность шахты. В зависимости от числа и назначения шахтных стволов околоствольные дворы могут быть клетевыми, скиповыми и </a:t>
            </a: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кипоклетевыми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; на крупных шахтах применяются в основном </a:t>
            </a: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кипоклетевые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околоствольные дворы. Наибольшее распространение получили круговые околоствольные дворы с перпендикулярным (рис. 2.3, а) или параллельным (рис. 2.3, б) расположением транспортных выработок относительно главного магистрального штрека или квершлага, а также петлевые околоствольные дворы, в которых грузовая ветвь главного ствола является продолжением квершлага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775BB273-967A-90A1-3E49-289EFC57ADE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5"/>
          <a:stretch/>
        </p:blipFill>
        <p:spPr bwMode="auto">
          <a:xfrm>
            <a:off x="6418803" y="1982651"/>
            <a:ext cx="5283200" cy="155003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5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5655145"/>
      </p:ext>
    </p:extLst>
  </p:cSld>
  <p:clrMapOvr>
    <a:masterClrMapping/>
  </p:clrMapOvr>
  <p:timing>
    <p:tnLst>
      <p:par>
        <p:cTn dur="indefinite" id="1" nodeType="tmRoot" restart="never"/>
      </p:par>
    </p:tnLst>
  </p:timing>
</p:sld>
</file>

<file path=ppt/slides/slide6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Основы горного дел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915871" y="4526165"/>
            <a:ext cx="4600937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2.4 – Виды полезных ископаемых</a:t>
            </a:r>
            <a:endParaRPr dirty="0" lang="x-none" sz="1200">
              <a:effectLst/>
              <a:latin charset="0" panose="02020603050405020304" pitchFamily="18" typeface="Times New Roman"/>
              <a:ea charset="0" panose="02020603050405020304" pitchFamily="18" typeface="Times New Roman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231117"/>
            <a:ext cx="5892716" cy="3108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Полезные ископаемы — это горные породы и минералы, которые добываются для хозяйственной деятельности человека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Виды полезных ископаемых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Все известные науке полезные ископаемые учёные делят на три большие группы: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Горючие полезные ископаемые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удные полезные ископаемые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Нерудные полезные ископаемые</a:t>
            </a:r>
          </a:p>
          <a:p>
            <a:pPr algn="just" defTabSz="914400"/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К горючим полезным ископаемым относятся природный газ, торф, каменный угол и нефть. Рудные полезные ископаемые ещё называют металлическими, так как в их составе есть металл. Например, железо, медь, олово, алюминий и др. В группу нерудных входят соли, алмазы, а также мел, гранит, глина и песок (рис. 2.4)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pic>
        <p:nvPicPr>
          <p:cNvPr descr="Памятка" id="4" name="Рисунок 3">
            <a:extLst>
              <a:ext uri="{FF2B5EF4-FFF2-40B4-BE49-F238E27FC236}">
                <a16:creationId xmlns:a16="http://schemas.microsoft.com/office/drawing/2014/main" xmlns="" id="{BB5D4837-109A-A2A2-4705-F87DD09160B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1" l="171" r="77" t="102"/>
          <a:stretch/>
        </p:blipFill>
        <p:spPr bwMode="auto">
          <a:xfrm>
            <a:off x="6715824" y="1863222"/>
            <a:ext cx="4663440" cy="239077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6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9335538"/>
      </p:ext>
    </p:extLst>
  </p:cSld>
  <p:clrMapOvr>
    <a:masterClrMapping/>
  </p:clrMapOvr>
  <p:timing>
    <p:tnLst>
      <p:par>
        <p:cTn dur="indefinite" id="1" nodeType="tmRoot" restart="never"/>
      </p:par>
    </p:tnLst>
  </p:timing>
</p:sld>
</file>

<file path=ppt/slides/slide7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Основы горного дел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915871" y="4798170"/>
            <a:ext cx="4600937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2.5 – Группы полезных ископаемых</a:t>
            </a:r>
            <a:endParaRPr dirty="0" lang="x-none" sz="1200">
              <a:effectLst/>
              <a:latin charset="0" panose="02020603050405020304" pitchFamily="18" typeface="Times New Roman"/>
              <a:ea charset="0" panose="02020603050405020304" pitchFamily="18" typeface="Times New Roman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554282"/>
            <a:ext cx="6765403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остояние полезных ископаемых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По физическому состоянию полезные ископаемые также делят на три группы: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Твёрдые полезные ископаемые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Жидкие полезные ископаемые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Газообразные полезные ископаемые</a:t>
            </a:r>
          </a:p>
          <a:p>
            <a:pPr algn="just" defTabSz="914400"/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Большинство полезных ископаемых на планете имеют твёрдую структуру — это разные виды угля, соли, руды, мрамор, гранит и др. К жидким породам относят нефть, минеральные воды и пресные подземные воды. Не так много и газообразных полезных ископаемых, например, природный газ, гелий и метан (рис. 2.5)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pic>
        <p:nvPicPr>
          <p:cNvPr descr="Памятка" id="3" name="Рисунок 2">
            <a:extLst>
              <a:ext uri="{FF2B5EF4-FFF2-40B4-BE49-F238E27FC236}">
                <a16:creationId xmlns:a16="http://schemas.microsoft.com/office/drawing/2014/main" xmlns="" id="{D4E8E994-0239-8430-FA46-CAEE602DAA1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" l="165" r="63" t="15"/>
          <a:stretch/>
        </p:blipFill>
        <p:spPr bwMode="auto">
          <a:xfrm>
            <a:off x="6915871" y="1843799"/>
            <a:ext cx="4996815" cy="252222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7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9507533"/>
      </p:ext>
    </p:extLst>
  </p:cSld>
  <p:clrMapOvr>
    <a:masterClrMapping/>
  </p:clrMapOvr>
  <p:timing>
    <p:tnLst>
      <p:par>
        <p:cTn dur="indefinite" id="1" nodeType="tmRoot" restart="never"/>
      </p:par>
    </p:tnLst>
  </p:timing>
</p:sld>
</file>

<file path=ppt/slides/slide8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Основы горного дел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048980" y="4306246"/>
            <a:ext cx="4600937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2.6 – Способы добычи полезных ископаемых</a:t>
            </a:r>
            <a:endParaRPr dirty="0" lang="x-none" sz="1200">
              <a:effectLst/>
              <a:latin charset="0" panose="02020603050405020304" pitchFamily="18" typeface="Times New Roman"/>
              <a:ea charset="0" panose="02020603050405020304" pitchFamily="18" typeface="Times New Roman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584787"/>
            <a:ext cx="6736466" cy="4401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Добыча полезных ископаемых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Полезные ископаемые добываются на поверхности или в недрах Земли в так называемых месторождениях. Поиском и изучением месторождений полезных ископаемых занимаются учёные-геологи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Для добычи полезных ископаемых применяют разные способы. Мы рассмотрим три основных: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карьерный или открытый способ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шахтный или подземный способ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кажинный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способ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Если полезное ископаемое находится в верхних слоях земли, то есть на глубине не больше 30 м, используются карьеры. В карьерах добывают гранит, известняк, глину. Если полезные ископаемые расположены в труднодоступных местах (до 1 км и более), строятся шахты. Так добывают руды железа и меди, уголь, соли.</a:t>
            </a:r>
          </a:p>
          <a:p>
            <a:pPr algn="just" defTabSz="914400"/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Для добычи жидких и газообразных полезных ископаемых устанавливают буровые установки и бурят скважины. Возможно, многие из вас видели нефтяные скважины, газовые скважины или скважины для воды (рис. 2.6)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pic>
        <p:nvPicPr>
          <p:cNvPr descr="Памятка" id="3" name="Рисунок 2">
            <a:extLst>
              <a:ext uri="{FF2B5EF4-FFF2-40B4-BE49-F238E27FC236}">
                <a16:creationId xmlns:a16="http://schemas.microsoft.com/office/drawing/2014/main" xmlns="" id="{130D141D-B7CF-3E2B-AE84-EDF67A37694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" l="24" r="62" t="79"/>
          <a:stretch/>
        </p:blipFill>
        <p:spPr bwMode="auto">
          <a:xfrm>
            <a:off x="6736466" y="1692509"/>
            <a:ext cx="5127625" cy="245427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8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6087722"/>
      </p:ext>
    </p:extLst>
  </p:cSld>
  <p:clrMapOvr>
    <a:masterClrMapping/>
  </p:clrMapOvr>
  <p:timing>
    <p:tnLst>
      <p:par>
        <p:cTn dur="indefinite" id="1" nodeType="tmRoot" restart="never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ы горного дела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015674"/>
            <a:ext cx="7540906" cy="3539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пособом проходки называется комплекс технологических про­цессов, выполняемых в заданной последовательности и формирующих горную выработку в соответствии с ее функциональным назначением и продолжительностью эксплуатации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пособы проходки подземных горных выработок делятся на две группы: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- основные способы;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 - специальные способы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пециальные способы применяются для строительства подзем­ных выработок в сложных горно-геологических условиях, например, в весьма неустойчивых или обводненных горных породах, при пересечении выработками разломов и крупных тектонических нару­шений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Шахтный вертикальный ствол состоит из устьевой, протяженной (с рассечками, камерами) и </a:t>
            </a:r>
            <a:r>
              <a:rPr kumimoji="0" lang="ru-RU" altLang="x-none" sz="1400" b="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умпфовой</a:t>
            </a: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частей (рис. 2.7). 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1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E3971E77-3CC3-EF7F-1B07-4C155718BCBD}"/>
              </a:ext>
            </a:extLst>
          </p:cNvPr>
          <p:cNvSpPr txBox="1"/>
          <p:nvPr/>
        </p:nvSpPr>
        <p:spPr>
          <a:xfrm>
            <a:off x="7419367" y="5607146"/>
            <a:ext cx="4600937" cy="11382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2.7 – Схемы вертикальных стволов:</a:t>
            </a:r>
          </a:p>
          <a:p>
            <a:pPr algn="ctr">
              <a:lnSpc>
                <a:spcPts val="865"/>
              </a:lnSpc>
            </a:pPr>
            <a:endParaRPr lang="ru-RU" sz="1200" b="1" spc="5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 - клетевой; 1 - калориферный канал; 2 - камера перекачкой водоотливной станции; 3 - сопряжение ствола с околоствольным двором; 4 ~ камера и ходок </a:t>
            </a:r>
            <a:r>
              <a:rPr lang="ru-RU" sz="1200" spc="5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умпфового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во­доотлива; 5 - зумпф; 6 - водотрубный ходок;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 - скиповой; 1 - вентиляционный канал; 2 + 6, 11 ^ 13 - выработки загрузочного комплекса; 7 + 10- </a:t>
            </a:r>
            <a:r>
              <a:rPr lang="ru-RU" sz="1200" spc="5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умпфовой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комплекс; 14 ~ вентиляционный ходок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6CBA7C50-9FB0-CDD5-ABFA-B7BCE6B7CD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5786" y="1279180"/>
            <a:ext cx="1924050" cy="4029075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94C7CC0C-6580-5A4F-C772-20BA148C3F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696" y="1300732"/>
            <a:ext cx="2105025" cy="41338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9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8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2241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2.xml><?xml version="1.0" encoding="utf-8"?>
<a:theme xmlns:a="http://schemas.openxmlformats.org/drawingml/2006/main" name="1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3.xml><?xml version="1.0" encoding="utf-8"?>
<a:theme xmlns:a="http://schemas.openxmlformats.org/drawingml/2006/main" name="2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4.xml><?xml version="1.0" encoding="utf-8"?>
<a:theme xmlns:a="http://schemas.openxmlformats.org/drawingml/2006/main" name="3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5.xml><?xml version="1.0" encoding="utf-8"?>
<a:theme xmlns:a="http://schemas.openxmlformats.org/drawingml/2006/main" name="4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510</TotalTime>
  <Words>1601</Words>
  <Application>Microsoft Office PowerPoint</Application>
  <PresentationFormat>Произвольный</PresentationFormat>
  <Paragraphs>92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6" baseType="lpstr">
      <vt:lpstr>ERG</vt:lpstr>
      <vt:lpstr>1_ERG</vt:lpstr>
      <vt:lpstr>2_ERG</vt:lpstr>
      <vt:lpstr>3_ERG</vt:lpstr>
      <vt:lpstr>4_ERG</vt:lpstr>
      <vt:lpstr>Слайд think-cell</vt:lpstr>
      <vt:lpstr> Ә.Сағынов атындағы Қарағанды техникалық университеті Карагандинский технический университет имени А. Сагинова Karaganda Technical University named after A. Saginov</vt:lpstr>
      <vt:lpstr>Основы горного дела</vt:lpstr>
      <vt:lpstr>Основы горного дела</vt:lpstr>
      <vt:lpstr>Основы горного дела</vt:lpstr>
      <vt:lpstr>Основы горного дела</vt:lpstr>
      <vt:lpstr>Основы горного дела</vt:lpstr>
      <vt:lpstr>Основы горного дела</vt:lpstr>
      <vt:lpstr>Основы горного дела</vt:lpstr>
      <vt:lpstr>Основы горного дела</vt:lpstr>
      <vt:lpstr>Основные понятия о шахте</vt:lpstr>
    </vt:vector>
  </TitlesOfParts>
  <Company>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 Donchenko</dc:creator>
  <cp:lastModifiedBy>User</cp:lastModifiedBy>
  <cp:revision>280</cp:revision>
  <dcterms:created xsi:type="dcterms:W3CDTF">2021-02-16T13:18:42Z</dcterms:created>
  <dcterms:modified xsi:type="dcterms:W3CDTF">2023-11-02T04:3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NXPowerLiteLastOptimized" pid="2">
    <vt:lpwstr>844632</vt:lpwstr>
  </property>
  <property fmtid="{D5CDD505-2E9C-101B-9397-08002B2CF9AE}" name="NXPowerLiteSettings" pid="3">
    <vt:lpwstr>F7000400038000</vt:lpwstr>
  </property>
  <property fmtid="{D5CDD505-2E9C-101B-9397-08002B2CF9AE}" name="NXPowerLiteVersion" pid="4">
    <vt:lpwstr>S10.0.0</vt:lpwstr>
  </property>
</Properties>
</file>